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8"/>
  </p:notesMasterIdLst>
  <p:handoutMasterIdLst>
    <p:handoutMasterId r:id="rId9"/>
  </p:handoutMasterIdLst>
  <p:sldIdLst>
    <p:sldId id="531" r:id="rId5"/>
    <p:sldId id="419" r:id="rId6"/>
    <p:sldId id="538" r:id="rId7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ter Langborg Wejse" initials="PLW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28E"/>
    <a:srgbClr val="289B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D7C7234-89E3-4C02-9666-77EC8864B606}" v="2" dt="2023-02-22T11:35:17.130"/>
  </p1510:revLst>
</p1510:revInfo>
</file>

<file path=ppt/tableStyles.xml><?xml version="1.0" encoding="utf-8"?>
<a:tblStyleLst xmlns:a="http://schemas.openxmlformats.org/drawingml/2006/main" def="{5C22544A-7EE6-4342-B048-85BDC9FD1C3A}"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459" autoAdjust="0"/>
  </p:normalViewPr>
  <p:slideViewPr>
    <p:cSldViewPr snapToGrid="0">
      <p:cViewPr varScale="1">
        <p:scale>
          <a:sx n="106" d="100"/>
          <a:sy n="106" d="100"/>
        </p:scale>
        <p:origin x="75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as Buch Moeller" userId="03be1ce4-fbb5-4069-8b08-c5dec6f39a5b" providerId="ADAL" clId="{BD7C7234-89E3-4C02-9666-77EC8864B606}"/>
    <pc:docChg chg="modSld">
      <pc:chgData name="Andreas Buch Moeller" userId="03be1ce4-fbb5-4069-8b08-c5dec6f39a5b" providerId="ADAL" clId="{BD7C7234-89E3-4C02-9666-77EC8864B606}" dt="2023-02-22T11:35:17.623" v="1" actId="20577"/>
      <pc:docMkLst>
        <pc:docMk/>
      </pc:docMkLst>
      <pc:sldChg chg="modSp mod">
        <pc:chgData name="Andreas Buch Moeller" userId="03be1ce4-fbb5-4069-8b08-c5dec6f39a5b" providerId="ADAL" clId="{BD7C7234-89E3-4C02-9666-77EC8864B606}" dt="2023-02-22T11:35:17.623" v="1" actId="20577"/>
        <pc:sldMkLst>
          <pc:docMk/>
          <pc:sldMk cId="2393383189" sldId="531"/>
        </pc:sldMkLst>
        <pc:spChg chg="mod">
          <ac:chgData name="Andreas Buch Moeller" userId="03be1ce4-fbb5-4069-8b08-c5dec6f39a5b" providerId="ADAL" clId="{BD7C7234-89E3-4C02-9666-77EC8864B606}" dt="2023-02-22T11:35:17.623" v="1" actId="20577"/>
          <ac:spMkLst>
            <pc:docMk/>
            <pc:sldMk cId="2393383189" sldId="531"/>
            <ac:spMk id="7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04865C-B91A-4166-8FDF-9C6DAE146A82}" type="datetimeFigureOut">
              <a:rPr lang="en-GB" smtClean="0"/>
              <a:t>22/02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96BAC-61F9-48BC-9776-D959763CC9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8928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72E7AF-D9A3-466B-8BE7-559D535F214C}" type="datetimeFigureOut">
              <a:rPr lang="en-GB" smtClean="0"/>
              <a:t>22/02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52F967-3795-4708-AFE6-9430D363ACE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3748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52F967-3795-4708-AFE6-9430D363ACE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1766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8B346E-74AC-4DE1-858A-26AFDD0CB6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75249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8B346E-74AC-4DE1-858A-26AFDD0CB6E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8886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372000" rIns="3600000" bIns="2052000" anchor="ctr" anchorCtr="0">
            <a:normAutofit/>
          </a:bodyPr>
          <a:lstStyle>
            <a:lvl1pPr marL="0" indent="0" algn="l">
              <a:buNone/>
              <a:defRPr sz="28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background image by clicking icon</a:t>
            </a:r>
            <a:br>
              <a:rPr lang="en-GB"/>
            </a:br>
            <a:r>
              <a:rPr lang="en-GB"/>
              <a:t>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0680" y="3061484"/>
            <a:ext cx="5338188" cy="3074620"/>
          </a:xfrm>
          <a:prstGeom prst="roundRect">
            <a:avLst>
              <a:gd name="adj" fmla="val 6653"/>
            </a:avLst>
          </a:prstGeom>
          <a:blipFill>
            <a:blip r:embed="rId2"/>
            <a:stretch>
              <a:fillRect/>
            </a:stretch>
          </a:blipFill>
        </p:spPr>
        <p:txBody>
          <a:bodyPr lIns="277200" tIns="342000" rIns="360000" bIns="180000" anchor="t" anchorCtr="0">
            <a:normAutofit/>
          </a:bodyPr>
          <a:lstStyle>
            <a:lvl1pPr algn="l">
              <a:defRPr sz="24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0680" y="3802842"/>
            <a:ext cx="4150789" cy="488717"/>
          </a:xfrm>
        </p:spPr>
        <p:txBody>
          <a:bodyPr lIns="338400" tIns="0" rIns="360000" bIns="0"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4AF439-D63A-5841-9BD2-1C140FD1EBB9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32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10680" y="5306262"/>
            <a:ext cx="4168149" cy="541883"/>
          </a:xfrm>
        </p:spPr>
        <p:txBody>
          <a:bodyPr lIns="338400" tIns="0" rIns="360000" bIns="0"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esenters name City - Country, [DATE]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-1993143" y="-243635"/>
            <a:ext cx="1596993" cy="1838105"/>
            <a:chOff x="980580" y="2503981"/>
            <a:chExt cx="1596993" cy="1838105"/>
          </a:xfrm>
          <a:solidFill>
            <a:srgbClr val="363E42"/>
          </a:solidFill>
        </p:grpSpPr>
        <p:sp>
          <p:nvSpPr>
            <p:cNvPr id="15" name="Rounded Rectangle 14"/>
            <p:cNvSpPr/>
            <p:nvPr/>
          </p:nvSpPr>
          <p:spPr>
            <a:xfrm>
              <a:off x="980580" y="2743686"/>
              <a:ext cx="1596993" cy="1598400"/>
            </a:xfrm>
            <a:prstGeom prst="roundRect">
              <a:avLst>
                <a:gd name="adj" fmla="val 10723"/>
              </a:avLst>
            </a:prstGeom>
            <a:noFill/>
            <a:ln w="19050" cap="flat" cmpd="sng" algn="ctr">
              <a:solidFill>
                <a:srgbClr val="363E42"/>
              </a:solidFill>
              <a:prstDash val="solid"/>
            </a:ln>
            <a:effectLst/>
          </p:spPr>
          <p:txBody>
            <a:bodyPr lIns="108000" tIns="108000" rIns="108000" bIns="144000" rtlCol="0" anchor="t" anchorCtr="0"/>
            <a:lstStyle/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GB" sz="1050" b="1" i="0" kern="0" err="1">
                  <a:solidFill>
                    <a:schemeClr val="accent1"/>
                  </a:solidFill>
                </a:rPr>
                <a:t>Arla</a:t>
              </a:r>
              <a:r>
                <a:rPr lang="en-GB" sz="1050" b="1" i="0" kern="0">
                  <a:solidFill>
                    <a:schemeClr val="accent1"/>
                  </a:solidFill>
                </a:rPr>
                <a:t> Design Guide </a:t>
              </a:r>
              <a:r>
                <a:rPr lang="en-GB" sz="1050" i="0" kern="0">
                  <a:solidFill>
                    <a:schemeClr val="tx1"/>
                  </a:solidFill>
                </a:rPr>
                <a:t>is found in the PowerPoint top menu. Click and find information on basic</a:t>
              </a:r>
              <a:r>
                <a:rPr lang="en-GB" sz="1050" i="0" kern="0" baseline="0">
                  <a:solidFill>
                    <a:schemeClr val="tx1"/>
                  </a:solidFill>
                </a:rPr>
                <a:t> </a:t>
              </a:r>
              <a:r>
                <a:rPr lang="en-GB" sz="1050" i="0" kern="0">
                  <a:solidFill>
                    <a:schemeClr val="tx1"/>
                  </a:solidFill>
                </a:rPr>
                <a:t>functions and usability.</a:t>
              </a:r>
            </a:p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lang="en-GB" sz="1100" i="0" kern="0">
                <a:solidFill>
                  <a:schemeClr val="tx1"/>
                </a:solidFill>
              </a:endParaRPr>
            </a:p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GB" sz="800" i="0" kern="0">
                  <a:solidFill>
                    <a:schemeClr val="tx1"/>
                  </a:solidFill>
                </a:rPr>
                <a:t>*Only Windows versions</a:t>
              </a:r>
            </a:p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lang="en-GB" sz="1100" i="0" kern="0">
                <a:solidFill>
                  <a:schemeClr val="tx1"/>
                </a:solidFill>
              </a:endParaRPr>
            </a:p>
          </p:txBody>
        </p:sp>
        <p:sp>
          <p:nvSpPr>
            <p:cNvPr id="16" name="Freeform 15"/>
            <p:cNvSpPr/>
            <p:nvPr/>
          </p:nvSpPr>
          <p:spPr>
            <a:xfrm rot="18900000">
              <a:off x="1669228" y="2503981"/>
              <a:ext cx="219698" cy="219698"/>
            </a:xfrm>
            <a:custGeom>
              <a:avLst/>
              <a:gdLst>
                <a:gd name="connsiteX0" fmla="*/ 0 w 481317"/>
                <a:gd name="connsiteY0" fmla="*/ 0 h 481317"/>
                <a:gd name="connsiteX1" fmla="*/ 478972 w 481317"/>
                <a:gd name="connsiteY1" fmla="*/ 0 h 481317"/>
                <a:gd name="connsiteX2" fmla="*/ 478972 w 481317"/>
                <a:gd name="connsiteY2" fmla="*/ 2345 h 481317"/>
                <a:gd name="connsiteX3" fmla="*/ 481317 w 481317"/>
                <a:gd name="connsiteY3" fmla="*/ 2344 h 481317"/>
                <a:gd name="connsiteX4" fmla="*/ 481317 w 481317"/>
                <a:gd name="connsiteY4" fmla="*/ 481317 h 481317"/>
                <a:gd name="connsiteX5" fmla="*/ 435598 w 481317"/>
                <a:gd name="connsiteY5" fmla="*/ 481317 h 481317"/>
                <a:gd name="connsiteX6" fmla="*/ 435597 w 481317"/>
                <a:gd name="connsiteY6" fmla="*/ 73702 h 481317"/>
                <a:gd name="connsiteX7" fmla="*/ 53159 w 481317"/>
                <a:gd name="connsiteY7" fmla="*/ 456140 h 481317"/>
                <a:gd name="connsiteX8" fmla="*/ 20831 w 481317"/>
                <a:gd name="connsiteY8" fmla="*/ 423811 h 481317"/>
                <a:gd name="connsiteX9" fmla="*/ 398923 w 481317"/>
                <a:gd name="connsiteY9" fmla="*/ 45719 h 481317"/>
                <a:gd name="connsiteX10" fmla="*/ 0 w 481317"/>
                <a:gd name="connsiteY10" fmla="*/ 45719 h 48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1317" h="481317">
                  <a:moveTo>
                    <a:pt x="0" y="0"/>
                  </a:moveTo>
                  <a:lnTo>
                    <a:pt x="478972" y="0"/>
                  </a:lnTo>
                  <a:lnTo>
                    <a:pt x="478972" y="2345"/>
                  </a:lnTo>
                  <a:lnTo>
                    <a:pt x="481317" y="2344"/>
                  </a:lnTo>
                  <a:lnTo>
                    <a:pt x="481317" y="481317"/>
                  </a:lnTo>
                  <a:lnTo>
                    <a:pt x="435598" y="481317"/>
                  </a:lnTo>
                  <a:lnTo>
                    <a:pt x="435597" y="73702"/>
                  </a:lnTo>
                  <a:lnTo>
                    <a:pt x="53159" y="456140"/>
                  </a:lnTo>
                  <a:lnTo>
                    <a:pt x="20831" y="423811"/>
                  </a:lnTo>
                  <a:lnTo>
                    <a:pt x="398923" y="45719"/>
                  </a:lnTo>
                  <a:lnTo>
                    <a:pt x="0" y="4571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-2008006" y="1763173"/>
            <a:ext cx="1835550" cy="1598400"/>
            <a:chOff x="980580" y="2743686"/>
            <a:chExt cx="1835550" cy="1598400"/>
          </a:xfrm>
          <a:solidFill>
            <a:srgbClr val="363E42"/>
          </a:solidFill>
        </p:grpSpPr>
        <p:sp>
          <p:nvSpPr>
            <p:cNvPr id="13" name="Rounded Rectangle 12"/>
            <p:cNvSpPr/>
            <p:nvPr/>
          </p:nvSpPr>
          <p:spPr>
            <a:xfrm>
              <a:off x="980580" y="2743686"/>
              <a:ext cx="1596993" cy="1598400"/>
            </a:xfrm>
            <a:prstGeom prst="roundRect">
              <a:avLst>
                <a:gd name="adj" fmla="val 10723"/>
              </a:avLst>
            </a:prstGeom>
            <a:noFill/>
            <a:ln w="19050" cap="flat" cmpd="sng" algn="ctr">
              <a:solidFill>
                <a:srgbClr val="363E42"/>
              </a:solidFill>
              <a:prstDash val="solid"/>
            </a:ln>
            <a:effectLst/>
          </p:spPr>
          <p:txBody>
            <a:bodyPr lIns="108000" tIns="108000" rIns="108000" bIns="144000" rtlCol="0" anchor="t" anchorCtr="0"/>
            <a:lstStyle/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r>
                <a:rPr lang="en-GB" sz="1050" b="1" i="0" kern="0">
                  <a:solidFill>
                    <a:schemeClr val="accent1"/>
                  </a:solidFill>
                </a:rPr>
                <a:t>Insert image</a:t>
              </a:r>
              <a:r>
                <a:rPr lang="en-GB" sz="1050" b="1" i="0" kern="0" baseline="0">
                  <a:solidFill>
                    <a:schemeClr val="accent1"/>
                  </a:solidFill>
                </a:rPr>
                <a:t> as background </a:t>
              </a:r>
              <a:r>
                <a:rPr lang="en-GB" sz="1050" b="1" i="0" kern="0" baseline="0">
                  <a:solidFill>
                    <a:schemeClr val="tx1"/>
                  </a:solidFill>
                </a:rPr>
                <a:t>-</a:t>
              </a:r>
              <a:r>
                <a:rPr lang="en-GB" sz="1050" b="1" i="0" kern="0" baseline="0">
                  <a:solidFill>
                    <a:schemeClr val="accent1"/>
                  </a:solidFill>
                </a:rPr>
                <a:t> </a:t>
              </a:r>
              <a:r>
                <a:rPr lang="en-GB" sz="1050" i="0" kern="0">
                  <a:solidFill>
                    <a:schemeClr val="tx1"/>
                  </a:solidFill>
                </a:rPr>
                <a:t>click the icon</a:t>
              </a:r>
              <a:r>
                <a:rPr lang="en-GB" sz="1050" i="0" kern="0" baseline="0">
                  <a:solidFill>
                    <a:schemeClr val="tx1"/>
                  </a:solidFill>
                </a:rPr>
                <a:t> and choose image.</a:t>
              </a:r>
              <a:endParaRPr lang="en-GB" sz="1100" i="0" kern="0" baseline="0">
                <a:solidFill>
                  <a:schemeClr val="tx1"/>
                </a:solidFill>
              </a:endParaRPr>
            </a:p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lang="en-GB" sz="1100" i="0" kern="0" baseline="0">
                <a:solidFill>
                  <a:schemeClr val="tx1"/>
                </a:solidFill>
              </a:endParaRPr>
            </a:p>
            <a:p>
              <a:pPr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defRPr/>
              </a:pPr>
              <a:endParaRPr lang="en-GB" sz="1050" i="0" kern="0">
                <a:solidFill>
                  <a:schemeClr val="tx1"/>
                </a:solidFill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 rot="2700000">
              <a:off x="2596432" y="3410353"/>
              <a:ext cx="219698" cy="219698"/>
            </a:xfrm>
            <a:custGeom>
              <a:avLst/>
              <a:gdLst>
                <a:gd name="connsiteX0" fmla="*/ 0 w 481317"/>
                <a:gd name="connsiteY0" fmla="*/ 0 h 481317"/>
                <a:gd name="connsiteX1" fmla="*/ 478972 w 481317"/>
                <a:gd name="connsiteY1" fmla="*/ 0 h 481317"/>
                <a:gd name="connsiteX2" fmla="*/ 478972 w 481317"/>
                <a:gd name="connsiteY2" fmla="*/ 2345 h 481317"/>
                <a:gd name="connsiteX3" fmla="*/ 481317 w 481317"/>
                <a:gd name="connsiteY3" fmla="*/ 2344 h 481317"/>
                <a:gd name="connsiteX4" fmla="*/ 481317 w 481317"/>
                <a:gd name="connsiteY4" fmla="*/ 481317 h 481317"/>
                <a:gd name="connsiteX5" fmla="*/ 435598 w 481317"/>
                <a:gd name="connsiteY5" fmla="*/ 481317 h 481317"/>
                <a:gd name="connsiteX6" fmla="*/ 435597 w 481317"/>
                <a:gd name="connsiteY6" fmla="*/ 73702 h 481317"/>
                <a:gd name="connsiteX7" fmla="*/ 53159 w 481317"/>
                <a:gd name="connsiteY7" fmla="*/ 456140 h 481317"/>
                <a:gd name="connsiteX8" fmla="*/ 20831 w 481317"/>
                <a:gd name="connsiteY8" fmla="*/ 423811 h 481317"/>
                <a:gd name="connsiteX9" fmla="*/ 398923 w 481317"/>
                <a:gd name="connsiteY9" fmla="*/ 45719 h 481317"/>
                <a:gd name="connsiteX10" fmla="*/ 0 w 481317"/>
                <a:gd name="connsiteY10" fmla="*/ 45719 h 481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1317" h="481317">
                  <a:moveTo>
                    <a:pt x="0" y="0"/>
                  </a:moveTo>
                  <a:lnTo>
                    <a:pt x="478972" y="0"/>
                  </a:lnTo>
                  <a:lnTo>
                    <a:pt x="478972" y="2345"/>
                  </a:lnTo>
                  <a:lnTo>
                    <a:pt x="481317" y="2344"/>
                  </a:lnTo>
                  <a:lnTo>
                    <a:pt x="481317" y="481317"/>
                  </a:lnTo>
                  <a:lnTo>
                    <a:pt x="435598" y="481317"/>
                  </a:lnTo>
                  <a:lnTo>
                    <a:pt x="435597" y="73702"/>
                  </a:lnTo>
                  <a:lnTo>
                    <a:pt x="53159" y="456140"/>
                  </a:lnTo>
                  <a:lnTo>
                    <a:pt x="20831" y="423811"/>
                  </a:lnTo>
                  <a:lnTo>
                    <a:pt x="398923" y="45719"/>
                  </a:lnTo>
                  <a:lnTo>
                    <a:pt x="0" y="45719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62406" y="2555040"/>
            <a:ext cx="969215" cy="546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849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B5BE2A-A820-5F4A-9ACD-AD8152E41DC3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10680" y="1918247"/>
            <a:ext cx="2512476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419979" y="1918247"/>
            <a:ext cx="2522204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6248182" y="1918247"/>
            <a:ext cx="2513025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9069850" y="1918247"/>
            <a:ext cx="2513025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331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Siz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132" y="1918247"/>
            <a:ext cx="5332050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051857-8AD8-6546-BE71-6D029D846565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48182" y="0"/>
            <a:ext cx="5943818" cy="6858000"/>
          </a:xfrm>
        </p:spPr>
        <p:txBody>
          <a:bodyPr lIns="720000" rIns="720000" bIns="1584000" anchor="ctr" anchorCtr="0">
            <a:normAutofit/>
          </a:bodyPr>
          <a:lstStyle>
            <a:lvl1pPr marL="0" indent="0" algn="ctr">
              <a:buNone/>
              <a:defRPr sz="28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background image by clicking ico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59265" y="5871300"/>
            <a:ext cx="9832733" cy="986700"/>
          </a:xfrm>
          <a:blipFill>
            <a:blip r:embed="rId2"/>
            <a:stretch>
              <a:fillRect/>
            </a:stretch>
          </a:blipFill>
        </p:spPr>
        <p:txBody>
          <a:bodyPr tIns="414000"/>
          <a:lstStyle/>
          <a:p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248183" y="4979773"/>
            <a:ext cx="5943818" cy="565176"/>
          </a:xfrm>
          <a:prstGeom prst="rect">
            <a:avLst/>
          </a:prstGeom>
          <a:noFill/>
        </p:spPr>
        <p:txBody>
          <a:bodyPr vert="horz" lIns="216000" tIns="108000" rIns="108000" bIns="0" rtlCol="0" anchor="b" anchorCtr="0">
            <a:noAutofit/>
          </a:bodyPr>
          <a:lstStyle>
            <a:lvl1pPr marL="0" indent="0" algn="l">
              <a:spcAft>
                <a:spcPts val="600"/>
              </a:spcAft>
              <a:buNone/>
              <a:defRPr lang="en-US" sz="2000" b="0" cap="none" baseline="0" dirty="0" smtClean="0">
                <a:solidFill>
                  <a:schemeClr val="accent3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624389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724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ar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6372000" rIns="3600000" bIns="1548000" anchor="ctr" anchorCtr="0">
            <a:normAutofit/>
          </a:bodyPr>
          <a:lstStyle>
            <a:lvl1pPr marL="0" indent="0" algn="l">
              <a:buNone/>
              <a:defRPr sz="28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US"/>
              <a:t>Insert background image by clicking icon</a:t>
            </a:r>
            <a:br>
              <a:rPr lang="en-US"/>
            </a:br>
            <a:r>
              <a:rPr lang="en-US"/>
              <a:t>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10ED8D-9E86-4848-8ED6-6C3E78819D70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59265" y="5871300"/>
            <a:ext cx="9832733" cy="986700"/>
          </a:xfrm>
          <a:blipFill>
            <a:blip r:embed="rId2"/>
            <a:stretch>
              <a:fillRect/>
            </a:stretch>
          </a:blipFill>
        </p:spPr>
        <p:txBody>
          <a:bodyPr tIns="414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9877" y="4636435"/>
            <a:ext cx="9102123" cy="1332319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5400" b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Headline text. This page is used </a:t>
            </a:r>
            <a:br>
              <a:rPr lang="en-US"/>
            </a:br>
            <a:r>
              <a:rPr lang="en-US"/>
              <a:t>as a break in the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205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Sm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</p:spPr>
        <p:txBody>
          <a:bodyPr lIns="6372000" rIns="3600000" bIns="1548000" anchor="ctr" anchorCtr="0">
            <a:normAutofit/>
          </a:bodyPr>
          <a:lstStyle>
            <a:lvl1pPr marL="0" indent="0" algn="l">
              <a:buNone/>
              <a:defRPr sz="28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US"/>
              <a:t>Insert background image by clicking icon</a:t>
            </a:r>
            <a:br>
              <a:rPr lang="en-US"/>
            </a:br>
            <a:r>
              <a:rPr lang="en-US"/>
              <a:t>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1D5DB7-886E-4D42-A602-113DB8CDA8F0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59265" y="5871300"/>
            <a:ext cx="9832733" cy="986700"/>
          </a:xfrm>
          <a:blipFill>
            <a:blip r:embed="rId2"/>
            <a:stretch>
              <a:fillRect/>
            </a:stretch>
          </a:blipFill>
        </p:spPr>
        <p:txBody>
          <a:bodyPr tIns="414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4723775"/>
            <a:ext cx="5338192" cy="1223944"/>
          </a:xfrm>
        </p:spPr>
        <p:txBody>
          <a:bodyPr anchor="t" anchorCtr="0">
            <a:noAutofit/>
          </a:bodyPr>
          <a:lstStyle>
            <a:lvl1pPr>
              <a:lnSpc>
                <a:spcPct val="70000"/>
              </a:lnSpc>
              <a:defRPr sz="3600" b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Headline text. This page is used as a break in the presenta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635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6D8ECC"/>
              </a:gs>
              <a:gs pos="60000">
                <a:srgbClr val="3C69BB"/>
              </a:gs>
              <a:gs pos="100000">
                <a:srgbClr val="0B43A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D9E4B5-4C51-504A-8138-1DCC03B14845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i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4155569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8ADCF2"/>
              </a:gs>
              <a:gs pos="60000">
                <a:srgbClr val="5AD0EF"/>
              </a:gs>
              <a:gs pos="100000">
                <a:srgbClr val="3CC4EB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5F0CCC0-5487-C64E-B107-4538638EFBD0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313894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B19ECB"/>
              </a:gs>
              <a:gs pos="60000">
                <a:srgbClr val="977DB9"/>
              </a:gs>
              <a:gs pos="100000">
                <a:srgbClr val="7D5DA8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2910B45-1DAF-0D47-93AA-DE123194E57C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214379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B868A"/>
              </a:gs>
              <a:gs pos="60000">
                <a:srgbClr val="F95D63"/>
              </a:gs>
              <a:gs pos="100000">
                <a:srgbClr val="F8353C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50EC44-A6A0-6243-9E61-A60EBBB00E58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384909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FB269"/>
              </a:gs>
              <a:gs pos="60000">
                <a:srgbClr val="FF9837"/>
              </a:gs>
              <a:gs pos="100000">
                <a:srgbClr val="FF7E0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072F01-86E2-DF42-A654-25334F513F0B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2535446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FE084"/>
              </a:gs>
              <a:gs pos="60000">
                <a:srgbClr val="FFD65B"/>
              </a:gs>
              <a:gs pos="100000">
                <a:srgbClr val="FFCC3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AFA62E8-F9CF-5E4F-9CB7-2BE51A659B87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831832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A1ED02-23E9-864D-8835-725FEC6AC522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22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1" y="1918248"/>
            <a:ext cx="10972291" cy="3626699"/>
          </a:xfr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2000" baseline="0">
                <a:solidFill>
                  <a:srgbClr val="8B868E"/>
                </a:solidFill>
              </a:defRPr>
            </a:lvl1pPr>
          </a:lstStyle>
          <a:p>
            <a:pPr lvl="0"/>
            <a:r>
              <a:rPr lang="en-US"/>
              <a:t>Add text – Highlight active agenda topic in </a:t>
            </a:r>
            <a:r>
              <a:rPr lang="en-US" err="1"/>
              <a:t>Arla</a:t>
            </a:r>
            <a:r>
              <a:rPr lang="en-US"/>
              <a:t> Granite Gray</a:t>
            </a:r>
          </a:p>
          <a:p>
            <a:pPr lvl="0"/>
            <a:r>
              <a:rPr lang="en-US"/>
              <a:t>	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468914"/>
            <a:ext cx="10970103" cy="1072783"/>
          </a:xfrm>
        </p:spPr>
        <p:txBody>
          <a:bodyPr/>
          <a:lstStyle>
            <a:lvl1pPr>
              <a:defRPr sz="7000"/>
            </a:lvl1pPr>
          </a:lstStyle>
          <a:p>
            <a:r>
              <a:rPr lang="en-US"/>
              <a:t>AGENDA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043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FFF26C"/>
              </a:gs>
              <a:gs pos="60000">
                <a:srgbClr val="FFED3B"/>
              </a:gs>
              <a:gs pos="100000">
                <a:srgbClr val="FFE90A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E5C687-E45B-0A40-95F0-486BE21F9444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836700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E7ED66"/>
              </a:gs>
              <a:gs pos="60000">
                <a:srgbClr val="DFE733"/>
              </a:gs>
              <a:gs pos="100000">
                <a:srgbClr val="D7E10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000" err="1">
              <a:latin typeface="+mj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B668EF-80F1-0E45-B2FA-0781CD8A6B29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988542"/>
            <a:ext cx="9091869" cy="4563761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60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Divider text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131" y="644098"/>
            <a:ext cx="9091869" cy="270302"/>
          </a:xfrm>
        </p:spPr>
        <p:txBody>
          <a:bodyPr lIns="54000" tIns="0" rIns="0" bIns="0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Divider header</a:t>
            </a:r>
          </a:p>
        </p:txBody>
      </p:sp>
    </p:spTree>
    <p:extLst>
      <p:ext uri="{BB962C8B-B14F-4D97-AF65-F5344CB8AC3E}">
        <p14:creationId xmlns:p14="http://schemas.microsoft.com/office/powerpoint/2010/main" val="786218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ing Bub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4"/>
          <p:cNvGrpSpPr>
            <a:grpSpLocks noChangeAspect="1"/>
          </p:cNvGrpSpPr>
          <p:nvPr/>
        </p:nvGrpSpPr>
        <p:grpSpPr bwMode="auto">
          <a:xfrm>
            <a:off x="4581086" y="871538"/>
            <a:ext cx="5919787" cy="4919662"/>
            <a:chOff x="3415" y="517"/>
            <a:chExt cx="3729" cy="3099"/>
          </a:xfrm>
        </p:grpSpPr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auto">
            <a:xfrm>
              <a:off x="3415" y="517"/>
              <a:ext cx="3729" cy="30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5"/>
            <p:cNvSpPr>
              <a:spLocks/>
            </p:cNvSpPr>
            <p:nvPr/>
          </p:nvSpPr>
          <p:spPr bwMode="auto">
            <a:xfrm>
              <a:off x="3413" y="487"/>
              <a:ext cx="3751" cy="3164"/>
            </a:xfrm>
            <a:custGeom>
              <a:avLst/>
              <a:gdLst>
                <a:gd name="T0" fmla="*/ 1865 w 2034"/>
                <a:gd name="T1" fmla="*/ 47 h 1715"/>
                <a:gd name="T2" fmla="*/ 1088 w 2034"/>
                <a:gd name="T3" fmla="*/ 21 h 1715"/>
                <a:gd name="T4" fmla="*/ 148 w 2034"/>
                <a:gd name="T5" fmla="*/ 47 h 1715"/>
                <a:gd name="T6" fmla="*/ 0 w 2034"/>
                <a:gd name="T7" fmla="*/ 194 h 1715"/>
                <a:gd name="T8" fmla="*/ 0 w 2034"/>
                <a:gd name="T9" fmla="*/ 957 h 1715"/>
                <a:gd name="T10" fmla="*/ 0 w 2034"/>
                <a:gd name="T11" fmla="*/ 1297 h 1715"/>
                <a:gd name="T12" fmla="*/ 148 w 2034"/>
                <a:gd name="T13" fmla="*/ 1446 h 1715"/>
                <a:gd name="T14" fmla="*/ 296 w 2034"/>
                <a:gd name="T15" fmla="*/ 1446 h 1715"/>
                <a:gd name="T16" fmla="*/ 479 w 2034"/>
                <a:gd name="T17" fmla="*/ 1446 h 1715"/>
                <a:gd name="T18" fmla="*/ 696 w 2034"/>
                <a:gd name="T19" fmla="*/ 1692 h 1715"/>
                <a:gd name="T20" fmla="*/ 775 w 2034"/>
                <a:gd name="T21" fmla="*/ 1648 h 1715"/>
                <a:gd name="T22" fmla="*/ 805 w 2034"/>
                <a:gd name="T23" fmla="*/ 1446 h 1715"/>
                <a:gd name="T24" fmla="*/ 1242 w 2034"/>
                <a:gd name="T25" fmla="*/ 1437 h 1715"/>
                <a:gd name="T26" fmla="*/ 1846 w 2034"/>
                <a:gd name="T27" fmla="*/ 1425 h 1715"/>
                <a:gd name="T28" fmla="*/ 2013 w 2034"/>
                <a:gd name="T29" fmla="*/ 1297 h 1715"/>
                <a:gd name="T30" fmla="*/ 2013 w 2034"/>
                <a:gd name="T31" fmla="*/ 1079 h 1715"/>
                <a:gd name="T32" fmla="*/ 2013 w 2034"/>
                <a:gd name="T33" fmla="*/ 629 h 1715"/>
                <a:gd name="T34" fmla="*/ 2013 w 2034"/>
                <a:gd name="T35" fmla="*/ 194 h 1715"/>
                <a:gd name="T36" fmla="*/ 1865 w 2034"/>
                <a:gd name="T37" fmla="*/ 47 h 1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4" h="1715">
                  <a:moveTo>
                    <a:pt x="1865" y="47"/>
                  </a:moveTo>
                  <a:cubicBezTo>
                    <a:pt x="1865" y="47"/>
                    <a:pt x="1199" y="0"/>
                    <a:pt x="1088" y="21"/>
                  </a:cubicBezTo>
                  <a:cubicBezTo>
                    <a:pt x="978" y="41"/>
                    <a:pt x="148" y="47"/>
                    <a:pt x="148" y="47"/>
                  </a:cubicBezTo>
                  <a:cubicBezTo>
                    <a:pt x="66" y="47"/>
                    <a:pt x="0" y="113"/>
                    <a:pt x="0" y="194"/>
                  </a:cubicBezTo>
                  <a:cubicBezTo>
                    <a:pt x="0" y="957"/>
                    <a:pt x="0" y="957"/>
                    <a:pt x="0" y="957"/>
                  </a:cubicBezTo>
                  <a:cubicBezTo>
                    <a:pt x="0" y="1297"/>
                    <a:pt x="0" y="1297"/>
                    <a:pt x="0" y="1297"/>
                  </a:cubicBezTo>
                  <a:cubicBezTo>
                    <a:pt x="0" y="1379"/>
                    <a:pt x="66" y="1446"/>
                    <a:pt x="148" y="1446"/>
                  </a:cubicBezTo>
                  <a:cubicBezTo>
                    <a:pt x="296" y="1446"/>
                    <a:pt x="296" y="1446"/>
                    <a:pt x="296" y="1446"/>
                  </a:cubicBezTo>
                  <a:cubicBezTo>
                    <a:pt x="479" y="1446"/>
                    <a:pt x="479" y="1446"/>
                    <a:pt x="479" y="1446"/>
                  </a:cubicBezTo>
                  <a:cubicBezTo>
                    <a:pt x="479" y="1446"/>
                    <a:pt x="633" y="1675"/>
                    <a:pt x="696" y="1692"/>
                  </a:cubicBezTo>
                  <a:cubicBezTo>
                    <a:pt x="786" y="1715"/>
                    <a:pt x="775" y="1648"/>
                    <a:pt x="775" y="1648"/>
                  </a:cubicBezTo>
                  <a:cubicBezTo>
                    <a:pt x="805" y="1446"/>
                    <a:pt x="805" y="1446"/>
                    <a:pt x="805" y="1446"/>
                  </a:cubicBezTo>
                  <a:cubicBezTo>
                    <a:pt x="805" y="1446"/>
                    <a:pt x="1140" y="1452"/>
                    <a:pt x="1242" y="1437"/>
                  </a:cubicBezTo>
                  <a:cubicBezTo>
                    <a:pt x="1344" y="1421"/>
                    <a:pt x="1846" y="1425"/>
                    <a:pt x="1846" y="1425"/>
                  </a:cubicBezTo>
                  <a:cubicBezTo>
                    <a:pt x="1927" y="1425"/>
                    <a:pt x="2013" y="1379"/>
                    <a:pt x="2013" y="1297"/>
                  </a:cubicBezTo>
                  <a:cubicBezTo>
                    <a:pt x="2013" y="1079"/>
                    <a:pt x="2013" y="1079"/>
                    <a:pt x="2013" y="1079"/>
                  </a:cubicBezTo>
                  <a:cubicBezTo>
                    <a:pt x="2013" y="1079"/>
                    <a:pt x="1992" y="710"/>
                    <a:pt x="2013" y="629"/>
                  </a:cubicBezTo>
                  <a:cubicBezTo>
                    <a:pt x="2034" y="548"/>
                    <a:pt x="2013" y="194"/>
                    <a:pt x="2013" y="194"/>
                  </a:cubicBezTo>
                  <a:cubicBezTo>
                    <a:pt x="2013" y="113"/>
                    <a:pt x="1946" y="47"/>
                    <a:pt x="1865" y="47"/>
                  </a:cubicBezTo>
                  <a:close/>
                </a:path>
              </a:pathLst>
            </a:custGeom>
            <a:solidFill>
              <a:srgbClr val="4BB13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3792B6-9A3B-9A47-822C-699CB4843073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4634403" y="1025364"/>
            <a:ext cx="5737655" cy="3934893"/>
          </a:xfrm>
          <a:prstGeom prst="wedgeRoundRectCallout">
            <a:avLst>
              <a:gd name="adj1" fmla="val -14003"/>
              <a:gd name="adj2" fmla="val 70799"/>
              <a:gd name="adj3" fmla="val 16667"/>
            </a:avLst>
          </a:prstGeom>
          <a:noFill/>
        </p:spPr>
        <p:txBody>
          <a:bodyPr lIns="180000" tIns="180000" rIns="180000" bIns="180000">
            <a:normAutofit/>
          </a:bodyPr>
          <a:lstStyle>
            <a:lvl1pPr marL="0" indent="0">
              <a:buNone/>
              <a:defRPr sz="4000" i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It’s not what you sell, it’s what you stand for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634402" y="4108310"/>
            <a:ext cx="5737655" cy="732321"/>
          </a:xfrm>
          <a:prstGeom prst="rect">
            <a:avLst/>
          </a:prstGeom>
          <a:noFill/>
        </p:spPr>
        <p:txBody>
          <a:bodyPr vert="horz" lIns="360000" tIns="360000" rIns="360000" bIns="288000" rtlCol="0" anchor="b" anchorCtr="0">
            <a:noAutofit/>
          </a:bodyPr>
          <a:lstStyle>
            <a:lvl1pPr marL="0" indent="0" algn="r">
              <a:buNone/>
              <a:defRPr lang="en-US" sz="16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Roy M. Spence</a:t>
            </a:r>
          </a:p>
        </p:txBody>
      </p:sp>
    </p:spTree>
    <p:extLst>
      <p:ext uri="{BB962C8B-B14F-4D97-AF65-F5344CB8AC3E}">
        <p14:creationId xmlns:p14="http://schemas.microsoft.com/office/powerpoint/2010/main" val="1108904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tegic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291969-6DBA-E049-92B5-97E3A466E47F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1915675"/>
            <a:ext cx="3543275" cy="2335937"/>
          </a:xfrm>
          <a:prstGeom prst="roundRect">
            <a:avLst>
              <a:gd name="adj" fmla="val 9592"/>
            </a:avLst>
          </a:prstGeom>
          <a:solidFill>
            <a:schemeClr val="accent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0680" y="4424412"/>
            <a:ext cx="10969554" cy="1120537"/>
          </a:xfrm>
          <a:prstGeom prst="roundRect">
            <a:avLst>
              <a:gd name="adj" fmla="val 21093"/>
            </a:avLst>
          </a:prstGeom>
          <a:solidFill>
            <a:schemeClr val="accent4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10683" y="622339"/>
            <a:ext cx="10969554" cy="1120537"/>
          </a:xfrm>
          <a:prstGeom prst="roundRect">
            <a:avLst>
              <a:gd name="adj" fmla="val 19010"/>
            </a:avLst>
          </a:prstGeom>
          <a:solidFill>
            <a:srgbClr val="FF7E0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10680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42" hasCustomPrompt="1"/>
          </p:nvPr>
        </p:nvSpPr>
        <p:spPr>
          <a:xfrm>
            <a:off x="7999323" y="1332782"/>
            <a:ext cx="358091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43" hasCustomPrompt="1"/>
          </p:nvPr>
        </p:nvSpPr>
        <p:spPr>
          <a:xfrm>
            <a:off x="7999323" y="5134855"/>
            <a:ext cx="358091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326755" y="1915675"/>
            <a:ext cx="3543275" cy="2335937"/>
          </a:xfrm>
          <a:prstGeom prst="roundRect">
            <a:avLst>
              <a:gd name="adj" fmla="val 8899"/>
            </a:avLst>
          </a:prstGeom>
          <a:solidFill>
            <a:srgbClr val="0B43AA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4326753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8042835" y="1915675"/>
            <a:ext cx="3543275" cy="2335937"/>
          </a:xfrm>
          <a:prstGeom prst="roundRect">
            <a:avLst>
              <a:gd name="adj" fmla="val 9938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47" hasCustomPrompt="1"/>
          </p:nvPr>
        </p:nvSpPr>
        <p:spPr>
          <a:xfrm>
            <a:off x="8042833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43207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ic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95DF5-13B9-F042-BD8C-CB01EC0ADAAA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7" hasCustomPrompt="1"/>
          </p:nvPr>
        </p:nvSpPr>
        <p:spPr>
          <a:xfrm>
            <a:off x="610680" y="4424412"/>
            <a:ext cx="10969554" cy="1120537"/>
          </a:xfrm>
          <a:prstGeom prst="roundRect">
            <a:avLst>
              <a:gd name="adj" fmla="val 19095"/>
            </a:avLst>
          </a:prstGeom>
          <a:solidFill>
            <a:srgbClr val="D7E100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7999319" y="5134855"/>
            <a:ext cx="358091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601915"/>
            <a:ext cx="3543275" cy="3649697"/>
          </a:xfrm>
          <a:prstGeom prst="roundRect">
            <a:avLst>
              <a:gd name="adj" fmla="val 5944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610680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326759" y="601915"/>
            <a:ext cx="3543275" cy="3649697"/>
          </a:xfrm>
          <a:prstGeom prst="roundRect">
            <a:avLst>
              <a:gd name="adj" fmla="val 5944"/>
            </a:avLst>
          </a:prstGeom>
          <a:solidFill>
            <a:schemeClr val="accent4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4326753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8042835" y="601915"/>
            <a:ext cx="3543275" cy="3649697"/>
          </a:xfrm>
          <a:prstGeom prst="roundRect">
            <a:avLst>
              <a:gd name="adj" fmla="val 6172"/>
            </a:avLst>
          </a:prstGeom>
          <a:solidFill>
            <a:srgbClr val="0B43AA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47" hasCustomPrompt="1"/>
          </p:nvPr>
        </p:nvSpPr>
        <p:spPr>
          <a:xfrm>
            <a:off x="8042833" y="3841518"/>
            <a:ext cx="354327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236800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ic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F8874-3BC9-3442-BE11-5522D791BAF2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598287"/>
            <a:ext cx="3543274" cy="2388746"/>
          </a:xfrm>
          <a:prstGeom prst="roundRect">
            <a:avLst>
              <a:gd name="adj" fmla="val 8214"/>
            </a:avLst>
          </a:prstGeom>
          <a:solidFill>
            <a:srgbClr val="FF7E0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10683" y="2567479"/>
            <a:ext cx="3543274" cy="41955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2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606363" y="3172395"/>
            <a:ext cx="7263670" cy="2372556"/>
          </a:xfrm>
          <a:prstGeom prst="roundRect">
            <a:avLst>
              <a:gd name="adj" fmla="val 8591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8042833" y="3169085"/>
            <a:ext cx="3537400" cy="2375863"/>
          </a:xfrm>
          <a:prstGeom prst="roundRect">
            <a:avLst>
              <a:gd name="adj" fmla="val 8903"/>
            </a:avLst>
          </a:prstGeom>
          <a:solidFill>
            <a:schemeClr val="accent4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326758" y="598286"/>
            <a:ext cx="7253475" cy="2388747"/>
          </a:xfrm>
          <a:prstGeom prst="roundRect">
            <a:avLst>
              <a:gd name="adj" fmla="val 7652"/>
            </a:avLst>
          </a:prstGeom>
          <a:solidFill>
            <a:schemeClr val="accent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599842" y="5134854"/>
            <a:ext cx="7270191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4326758" y="2567479"/>
            <a:ext cx="7253475" cy="41955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042833" y="5138164"/>
            <a:ext cx="3537399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3471193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ic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F3DC2-CDC6-D649-9219-8610851BEED7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610682" y="601915"/>
            <a:ext cx="3543275" cy="4943033"/>
          </a:xfrm>
          <a:prstGeom prst="roundRect">
            <a:avLst>
              <a:gd name="adj" fmla="val 5596"/>
            </a:avLst>
          </a:prstGeom>
          <a:solidFill>
            <a:schemeClr val="accent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326759" y="601915"/>
            <a:ext cx="3543275" cy="4943033"/>
          </a:xfrm>
          <a:prstGeom prst="roundRect">
            <a:avLst>
              <a:gd name="adj" fmla="val 5596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8042835" y="601915"/>
            <a:ext cx="3543275" cy="4943033"/>
          </a:xfrm>
          <a:prstGeom prst="roundRect">
            <a:avLst>
              <a:gd name="adj" fmla="val 5993"/>
            </a:avLst>
          </a:prstGeom>
          <a:solidFill>
            <a:schemeClr val="accent4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599843" y="5134854"/>
            <a:ext cx="3554108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326755" y="5134854"/>
            <a:ext cx="354327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8042834" y="5134854"/>
            <a:ext cx="354327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3333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ic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0E0A5C-A8F8-8946-8B11-C1178B0122EC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3" y="1918246"/>
            <a:ext cx="2614255" cy="2418624"/>
          </a:xfrm>
          <a:prstGeom prst="roundRect">
            <a:avLst>
              <a:gd name="adj" fmla="val 7105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10130" y="3926776"/>
            <a:ext cx="261480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3397739" y="1918247"/>
            <a:ext cx="2614255" cy="2418624"/>
          </a:xfrm>
          <a:prstGeom prst="roundRect">
            <a:avLst>
              <a:gd name="adj" fmla="val 7687"/>
            </a:avLst>
          </a:prstGeom>
          <a:solidFill>
            <a:schemeClr val="accent4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3397738" y="3926776"/>
            <a:ext cx="261425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6184795" y="1918247"/>
            <a:ext cx="2614255" cy="2418624"/>
          </a:xfrm>
          <a:prstGeom prst="roundRect">
            <a:avLst>
              <a:gd name="adj" fmla="val 8850"/>
            </a:avLst>
          </a:prstGeom>
          <a:solidFill>
            <a:srgbClr val="0B43AA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184794" y="3926776"/>
            <a:ext cx="261425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6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971851" y="1918246"/>
            <a:ext cx="2614255" cy="2418624"/>
          </a:xfrm>
          <a:prstGeom prst="roundRect">
            <a:avLst>
              <a:gd name="adj" fmla="val 7978"/>
            </a:avLst>
          </a:prstGeom>
          <a:solidFill>
            <a:srgbClr val="D7E100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971708" y="3926776"/>
            <a:ext cx="2614398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6428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rategic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2681DA-CFF4-7547-9166-D2ED9E6188E7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3" y="1918246"/>
            <a:ext cx="2046373" cy="2418624"/>
          </a:xfrm>
          <a:prstGeom prst="roundRect">
            <a:avLst>
              <a:gd name="adj" fmla="val 8664"/>
            </a:avLst>
          </a:prstGeom>
          <a:solidFill>
            <a:srgbClr val="FF7E0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610683" y="3926776"/>
            <a:ext cx="2046373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33" hasCustomPrompt="1"/>
          </p:nvPr>
        </p:nvSpPr>
        <p:spPr>
          <a:xfrm>
            <a:off x="2838759" y="1918246"/>
            <a:ext cx="2046373" cy="2418624"/>
          </a:xfrm>
          <a:prstGeom prst="roundRect">
            <a:avLst>
              <a:gd name="adj" fmla="val 9007"/>
            </a:avLst>
          </a:prstGeom>
          <a:solidFill>
            <a:srgbClr val="F8353C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2838759" y="3926776"/>
            <a:ext cx="204637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5066835" y="1918246"/>
            <a:ext cx="2046373" cy="2418624"/>
          </a:xfrm>
          <a:prstGeom prst="roundRect">
            <a:avLst>
              <a:gd name="adj" fmla="val 9007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5066834" y="3926776"/>
            <a:ext cx="204637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294911" y="1918246"/>
            <a:ext cx="2046373" cy="2418624"/>
          </a:xfrm>
          <a:prstGeom prst="roundRect">
            <a:avLst>
              <a:gd name="adj" fmla="val 10039"/>
            </a:avLst>
          </a:prstGeom>
          <a:solidFill>
            <a:srgbClr val="3CC4EB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294911" y="3926776"/>
            <a:ext cx="204637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4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9522986" y="1918246"/>
            <a:ext cx="2046373" cy="2418624"/>
          </a:xfrm>
          <a:prstGeom prst="roundRect">
            <a:avLst>
              <a:gd name="adj" fmla="val 9695"/>
            </a:avLst>
          </a:prstGeom>
          <a:solidFill>
            <a:srgbClr val="0B43AA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40" hasCustomPrompt="1"/>
          </p:nvPr>
        </p:nvSpPr>
        <p:spPr>
          <a:xfrm>
            <a:off x="9522986" y="3926776"/>
            <a:ext cx="2046373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55918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coll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0682" y="3824348"/>
            <a:ext cx="3580914" cy="1720599"/>
          </a:xfrm>
          <a:prstGeom prst="roundRect">
            <a:avLst>
              <a:gd name="adj" fmla="val 11999"/>
            </a:avLst>
          </a:prstGeom>
        </p:spPr>
        <p:txBody>
          <a:bodyPr lIns="144000" tIns="144000" rIns="144000" bIns="144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clicking ic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0CB26-477B-F44B-93D3-677A800F896E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1928104"/>
            <a:ext cx="7275234" cy="1720598"/>
          </a:xfrm>
          <a:prstGeom prst="roundRect">
            <a:avLst>
              <a:gd name="adj" fmla="val 11751"/>
            </a:avLst>
          </a:prstGeom>
          <a:solidFill>
            <a:srgbClr val="FF7E0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344005" y="3824237"/>
            <a:ext cx="7236228" cy="1724021"/>
          </a:xfrm>
          <a:prstGeom prst="roundRect">
            <a:avLst>
              <a:gd name="adj" fmla="val 11246"/>
            </a:avLst>
          </a:prstGeom>
          <a:solidFill>
            <a:schemeClr val="accent6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35" hasCustomPrompt="1"/>
          </p:nvPr>
        </p:nvSpPr>
        <p:spPr>
          <a:xfrm>
            <a:off x="8042835" y="1928104"/>
            <a:ext cx="3539058" cy="1720598"/>
          </a:xfrm>
          <a:prstGeom prst="roundRect">
            <a:avLst>
              <a:gd name="adj" fmla="val 11343"/>
            </a:avLst>
          </a:prstGeom>
          <a:solidFill>
            <a:schemeClr val="accent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344005" y="5134855"/>
            <a:ext cx="7236228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36" hasCustomPrompt="1"/>
          </p:nvPr>
        </p:nvSpPr>
        <p:spPr>
          <a:xfrm>
            <a:off x="610682" y="3238608"/>
            <a:ext cx="7275234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1" name="Text Placeholder 7"/>
          <p:cNvSpPr>
            <a:spLocks noGrp="1"/>
          </p:cNvSpPr>
          <p:nvPr>
            <p:ph type="body" sz="quarter" idx="37" hasCustomPrompt="1"/>
          </p:nvPr>
        </p:nvSpPr>
        <p:spPr>
          <a:xfrm>
            <a:off x="8042835" y="3238608"/>
            <a:ext cx="3539058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2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10131" y="5134855"/>
            <a:ext cx="358146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50590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ime Sched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5CA5B3-AE31-6742-898D-85D0DE53D1D3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3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2331447" y="1918248"/>
            <a:ext cx="9250446" cy="3626700"/>
          </a:xfr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rgbClr val="969A99"/>
                </a:solidFill>
              </a:defRPr>
            </a:lvl1pPr>
          </a:lstStyle>
          <a:p>
            <a:pPr lvl="0"/>
            <a:r>
              <a:rPr lang="en-US"/>
              <a:t>Add text – Highlight active agenda topic in </a:t>
            </a:r>
            <a:r>
              <a:rPr lang="en-US" err="1"/>
              <a:t>Arla</a:t>
            </a:r>
            <a:r>
              <a:rPr lang="en-US"/>
              <a:t> Granite Gray</a:t>
            </a:r>
          </a:p>
        </p:txBody>
      </p:sp>
      <p:sp>
        <p:nvSpPr>
          <p:cNvPr id="3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0682" y="1918248"/>
            <a:ext cx="1414764" cy="3626700"/>
          </a:xfr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rgbClr val="969A99"/>
                </a:solidFill>
              </a:defRPr>
            </a:lvl1pPr>
          </a:lstStyle>
          <a:p>
            <a:pPr lvl="0"/>
            <a:r>
              <a:rPr lang="en-US"/>
              <a:t>09.00-10.00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735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Coll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1928105"/>
            <a:ext cx="3543275" cy="3636552"/>
          </a:xfrm>
          <a:prstGeom prst="roundRect">
            <a:avLst>
              <a:gd name="adj" fmla="val 5596"/>
            </a:avLst>
          </a:prstGeom>
          <a:solidFill>
            <a:schemeClr val="accent1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A0B1FB-5A3F-7C46-BEF3-9C44DFCB2E94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43" hasCustomPrompt="1"/>
          </p:nvPr>
        </p:nvSpPr>
        <p:spPr>
          <a:xfrm>
            <a:off x="4344005" y="3834413"/>
            <a:ext cx="7236228" cy="1735984"/>
          </a:xfrm>
          <a:prstGeom prst="roundRect">
            <a:avLst>
              <a:gd name="adj" fmla="val 11673"/>
            </a:avLst>
          </a:prstGeom>
        </p:spPr>
        <p:txBody>
          <a:bodyPr lIns="144000" tIns="144000" rIns="144000" bIns="144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clicking icon</a:t>
            </a: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344005" y="1928105"/>
            <a:ext cx="7236228" cy="1720598"/>
          </a:xfrm>
          <a:prstGeom prst="roundRect">
            <a:avLst>
              <a:gd name="adj" fmla="val 13540"/>
            </a:avLst>
          </a:prstGeom>
          <a:solidFill>
            <a:srgbClr val="D7E100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7" name="Text Placehold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344004" y="3228544"/>
            <a:ext cx="7237889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4344004" y="5160302"/>
            <a:ext cx="7237890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10682" y="5160302"/>
            <a:ext cx="3543275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7233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Coll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610682" y="1928105"/>
            <a:ext cx="3543275" cy="3636552"/>
          </a:xfrm>
          <a:prstGeom prst="roundRect">
            <a:avLst>
              <a:gd name="adj" fmla="val 5795"/>
            </a:avLst>
          </a:prstGeom>
          <a:solidFill>
            <a:srgbClr val="D7E100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610131" y="5154561"/>
            <a:ext cx="3543826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4ABB6F-30DB-494A-848F-7FB3BF4F29B3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43" hasCustomPrompt="1"/>
          </p:nvPr>
        </p:nvSpPr>
        <p:spPr>
          <a:xfrm>
            <a:off x="4344005" y="1935840"/>
            <a:ext cx="7231765" cy="3628816"/>
          </a:xfrm>
          <a:prstGeom prst="roundRect">
            <a:avLst>
              <a:gd name="adj" fmla="val 5085"/>
            </a:avLst>
          </a:prstGeom>
        </p:spPr>
        <p:txBody>
          <a:bodyPr lIns="144000" tIns="144000" rIns="144000" bIns="144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clicking icon</a:t>
            </a:r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4344005" y="5152562"/>
            <a:ext cx="7231766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015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Collag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7"/>
          <p:cNvSpPr>
            <a:spLocks noGrp="1"/>
          </p:cNvSpPr>
          <p:nvPr>
            <p:ph type="body" sz="quarter" idx="48" hasCustomPrompt="1"/>
          </p:nvPr>
        </p:nvSpPr>
        <p:spPr>
          <a:xfrm>
            <a:off x="4344005" y="1935841"/>
            <a:ext cx="3520858" cy="1712861"/>
          </a:xfrm>
          <a:prstGeom prst="roundRect">
            <a:avLst>
              <a:gd name="adj" fmla="val 12333"/>
            </a:avLst>
          </a:prstGeom>
          <a:solidFill>
            <a:schemeClr val="accent3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46" hasCustomPrompt="1"/>
          </p:nvPr>
        </p:nvSpPr>
        <p:spPr>
          <a:xfrm>
            <a:off x="610682" y="1928104"/>
            <a:ext cx="3543275" cy="3636553"/>
          </a:xfrm>
          <a:prstGeom prst="roundRect">
            <a:avLst>
              <a:gd name="adj" fmla="val 5993"/>
            </a:avLst>
          </a:prstGeom>
          <a:solidFill>
            <a:srgbClr val="FFE90A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9CFB9-345D-864B-BAE2-15E2F11B26B0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43" hasCustomPrompt="1"/>
          </p:nvPr>
        </p:nvSpPr>
        <p:spPr>
          <a:xfrm>
            <a:off x="8042831" y="1935841"/>
            <a:ext cx="3532938" cy="3628816"/>
          </a:xfrm>
          <a:prstGeom prst="roundRect">
            <a:avLst>
              <a:gd name="adj" fmla="val 5311"/>
            </a:avLst>
          </a:prstGeom>
        </p:spPr>
        <p:txBody>
          <a:bodyPr lIns="144000" tIns="144000" rIns="144000" bIns="144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clicking icon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8042831" y="5154562"/>
            <a:ext cx="3532939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44" hasCustomPrompt="1"/>
          </p:nvPr>
        </p:nvSpPr>
        <p:spPr>
          <a:xfrm>
            <a:off x="4344005" y="3238608"/>
            <a:ext cx="3520858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47" hasCustomPrompt="1"/>
          </p:nvPr>
        </p:nvSpPr>
        <p:spPr>
          <a:xfrm>
            <a:off x="595630" y="5154562"/>
            <a:ext cx="355832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49" hasCustomPrompt="1"/>
          </p:nvPr>
        </p:nvSpPr>
        <p:spPr>
          <a:xfrm>
            <a:off x="4344005" y="3824349"/>
            <a:ext cx="3520858" cy="1740308"/>
          </a:xfrm>
          <a:prstGeom prst="roundRect">
            <a:avLst>
              <a:gd name="adj" fmla="val 10388"/>
            </a:avLst>
          </a:prstGeom>
          <a:solidFill>
            <a:srgbClr val="FF7E05"/>
          </a:solidFill>
        </p:spPr>
        <p:txBody>
          <a:bodyPr vert="horz" lIns="144000" tIns="144000" rIns="144000" bIns="144000" rtlCol="0" anchor="t" anchorCtr="0">
            <a:normAutofit/>
          </a:bodyPr>
          <a:lstStyle>
            <a:lvl1pPr marL="0" indent="0" algn="l">
              <a:spcAft>
                <a:spcPts val="600"/>
              </a:spcAft>
              <a:buNone/>
              <a:defRPr lang="en-US" sz="2000" b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45" hasCustomPrompt="1"/>
          </p:nvPr>
        </p:nvSpPr>
        <p:spPr>
          <a:xfrm>
            <a:off x="4344005" y="5154562"/>
            <a:ext cx="3517646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791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10682" y="1918246"/>
            <a:ext cx="10965090" cy="3626703"/>
          </a:xfrm>
          <a:prstGeom prst="roundRect">
            <a:avLst>
              <a:gd name="adj" fmla="val 4936"/>
            </a:avLst>
          </a:prstGeom>
        </p:spPr>
        <p:txBody>
          <a:bodyPr lIns="216000" tIns="216000" rIns="216000" bIns="216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clicking ic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FC5524-B453-3D4A-98BB-84836081DC04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4312081" y="5134855"/>
            <a:ext cx="7263690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898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6241504" y="1918246"/>
            <a:ext cx="5340390" cy="3626702"/>
          </a:xfrm>
          <a:prstGeom prst="roundRect">
            <a:avLst>
              <a:gd name="adj" fmla="val 5052"/>
            </a:avLst>
          </a:prstGeom>
        </p:spPr>
        <p:txBody>
          <a:bodyPr lIns="216000" tIns="216000" rIns="216000" bIns="216000" anchor="ctr" anchorCtr="0">
            <a:noAutofit/>
          </a:bodyPr>
          <a:lstStyle>
            <a:lvl1pPr marL="0" indent="0" algn="ctr">
              <a:buNone/>
              <a:defRPr sz="3200" baseline="0">
                <a:solidFill>
                  <a:schemeClr val="tx1"/>
                </a:solidFill>
                <a:latin typeface="+mj-lt"/>
                <a:sym typeface="Wingdings" panose="05000000000000000000" pitchFamily="2" charset="2"/>
              </a:defRPr>
            </a:lvl1pPr>
          </a:lstStyle>
          <a:p>
            <a:r>
              <a:rPr lang="en-GB"/>
              <a:t>Insert image by </a:t>
            </a:r>
            <a:br>
              <a:rPr lang="en-GB"/>
            </a:br>
            <a:r>
              <a:rPr lang="en-GB"/>
              <a:t>clicking ico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67EEA1-BE52-4443-A0B2-6E608FB41063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10132" y="1918246"/>
            <a:ext cx="5338192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241503" y="5134855"/>
            <a:ext cx="5334267" cy="410094"/>
          </a:xfrm>
          <a:prstGeom prst="rect">
            <a:avLst/>
          </a:prstGeom>
          <a:noFill/>
        </p:spPr>
        <p:txBody>
          <a:bodyPr vert="horz" lIns="144000" tIns="144000" rIns="144000" bIns="144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1350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s are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F5B1-859A-5444-BD44-2642F7C1CB71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8" hasCustomPrompt="1"/>
          </p:nvPr>
        </p:nvSpPr>
        <p:spPr>
          <a:xfrm>
            <a:off x="2991564" y="2542035"/>
            <a:ext cx="4216544" cy="2062915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288000" rIns="0" anchor="ctr" anchorCtr="0">
            <a:noAutofit/>
          </a:bodyPr>
          <a:lstStyle>
            <a:lvl1pPr marL="0" indent="0" algn="ctr">
              <a:buNone/>
              <a:defRPr sz="166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7391400" y="2542035"/>
            <a:ext cx="1809926" cy="2062915"/>
          </a:xfrm>
        </p:spPr>
        <p:txBody>
          <a:bodyPr lIns="0" tIns="288000" rIns="0" anchor="t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40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33" hasCustomPrompt="1"/>
          </p:nvPr>
        </p:nvSpPr>
        <p:spPr>
          <a:xfrm>
            <a:off x="2991564" y="4713514"/>
            <a:ext cx="6209763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2981865" y="1386315"/>
            <a:ext cx="6228270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2991564" y="5374976"/>
            <a:ext cx="6209763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2991563" y="1577512"/>
            <a:ext cx="6209763" cy="899504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40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cxnSp>
        <p:nvCxnSpPr>
          <p:cNvPr id="12" name="Straight Connector 11"/>
          <p:cNvCxnSpPr/>
          <p:nvPr/>
        </p:nvCxnSpPr>
        <p:spPr>
          <a:xfrm>
            <a:off x="2981865" y="2433472"/>
            <a:ext cx="6209763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2981865" y="4713514"/>
            <a:ext cx="6209763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84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s are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4EB80-A69C-8749-A68B-26A0607F9C14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3733799" y="2452312"/>
            <a:ext cx="2124251" cy="1556656"/>
          </a:xfrm>
        </p:spPr>
        <p:txBody>
          <a:bodyPr lIns="0" tIns="252000" rIns="0" anchor="t" anchorCtr="0">
            <a:normAutofit/>
          </a:bodyPr>
          <a:lstStyle>
            <a:lvl1pPr marL="0" indent="0"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37520" y="2476719"/>
            <a:ext cx="2932994" cy="1532249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180000" rIns="0" anchor="ctr" anchorCtr="0">
            <a:noAutofit/>
          </a:bodyPr>
          <a:lstStyle>
            <a:lvl1pPr marL="0" indent="0" algn="ctr">
              <a:buNone/>
              <a:defRPr sz="115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637521" y="4120920"/>
            <a:ext cx="5222188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637519" y="1577512"/>
            <a:ext cx="5220531" cy="698701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32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sp>
        <p:nvSpPr>
          <p:cNvPr id="47" name="Rectangle 46"/>
          <p:cNvSpPr/>
          <p:nvPr/>
        </p:nvSpPr>
        <p:spPr>
          <a:xfrm>
            <a:off x="627821" y="1386315"/>
            <a:ext cx="5220000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48" name="Straight Connector 47"/>
          <p:cNvCxnSpPr/>
          <p:nvPr/>
        </p:nvCxnSpPr>
        <p:spPr>
          <a:xfrm>
            <a:off x="635980" y="4804154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27821" y="2368156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627821" y="4099148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9454324" y="2452312"/>
            <a:ext cx="2124251" cy="1556656"/>
          </a:xfrm>
        </p:spPr>
        <p:txBody>
          <a:bodyPr lIns="0" tIns="252000" rIns="0" anchor="t" anchorCtr="0">
            <a:normAutofit/>
          </a:bodyPr>
          <a:lstStyle>
            <a:lvl1pPr marL="0" indent="0">
              <a:buNone/>
              <a:defRPr sz="28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6358045" y="2476719"/>
            <a:ext cx="2932994" cy="1532249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180000" rIns="0" anchor="ctr" anchorCtr="0">
            <a:noAutofit/>
          </a:bodyPr>
          <a:lstStyle>
            <a:lvl1pPr marL="0" indent="0" algn="ctr">
              <a:buNone/>
              <a:defRPr sz="115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6358046" y="4120920"/>
            <a:ext cx="5222188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6358044" y="1577512"/>
            <a:ext cx="5220531" cy="698701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32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sp>
        <p:nvSpPr>
          <p:cNvPr id="56" name="Rectangle 55"/>
          <p:cNvSpPr/>
          <p:nvPr/>
        </p:nvSpPr>
        <p:spPr>
          <a:xfrm>
            <a:off x="6348346" y="1386315"/>
            <a:ext cx="5220000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57" name="Straight Connector 56"/>
          <p:cNvCxnSpPr/>
          <p:nvPr/>
        </p:nvCxnSpPr>
        <p:spPr>
          <a:xfrm>
            <a:off x="6356505" y="4804154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6348346" y="2368156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>
            <a:off x="6348346" y="4099148"/>
            <a:ext cx="5223728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42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fographics are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7C7932-2CBD-F242-A538-8BCBAAA6A925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39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2856271" y="2236927"/>
            <a:ext cx="1242136" cy="1159416"/>
          </a:xfrm>
        </p:spPr>
        <p:txBody>
          <a:bodyPr lIns="0" tIns="252000" rIns="0" anchor="t" anchorCtr="0">
            <a:normAutofit/>
          </a:bodyPr>
          <a:lstStyle>
            <a:lvl1pPr marL="0" indent="0">
              <a:buNone/>
              <a:defRPr sz="2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27822" y="2236928"/>
            <a:ext cx="2093607" cy="1159416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144000" rIns="0" anchor="ctr" anchorCtr="0">
            <a:noAutofit/>
          </a:bodyPr>
          <a:lstStyle>
            <a:lvl1pPr marL="0" indent="0" algn="ctr">
              <a:buNone/>
              <a:defRPr sz="8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627822" y="3477258"/>
            <a:ext cx="3470585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627822" y="1577512"/>
            <a:ext cx="3470584" cy="559527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2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sp>
        <p:nvSpPr>
          <p:cNvPr id="43" name="Rectangle 42"/>
          <p:cNvSpPr/>
          <p:nvPr/>
        </p:nvSpPr>
        <p:spPr>
          <a:xfrm>
            <a:off x="627822" y="1386315"/>
            <a:ext cx="3462699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44" name="Straight Connector 43"/>
          <p:cNvCxnSpPr/>
          <p:nvPr/>
        </p:nvCxnSpPr>
        <p:spPr>
          <a:xfrm>
            <a:off x="627822" y="4160492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627822" y="2184802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627822" y="3455486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6589298" y="2236927"/>
            <a:ext cx="1242136" cy="1159416"/>
          </a:xfrm>
        </p:spPr>
        <p:txBody>
          <a:bodyPr lIns="0" tIns="252000" rIns="0" anchor="t" anchorCtr="0">
            <a:normAutofit/>
          </a:bodyPr>
          <a:lstStyle>
            <a:lvl1pPr marL="0" indent="0">
              <a:buNone/>
              <a:defRPr sz="2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4360849" y="2236928"/>
            <a:ext cx="2093607" cy="1159416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144000" rIns="0" anchor="ctr" anchorCtr="0">
            <a:noAutofit/>
          </a:bodyPr>
          <a:lstStyle>
            <a:lvl1pPr marL="0" indent="0" algn="ctr">
              <a:buNone/>
              <a:defRPr sz="8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4360849" y="3477258"/>
            <a:ext cx="3470585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4360849" y="1577512"/>
            <a:ext cx="3470584" cy="559527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2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sp>
        <p:nvSpPr>
          <p:cNvPr id="51" name="Rectangle 50"/>
          <p:cNvSpPr/>
          <p:nvPr/>
        </p:nvSpPr>
        <p:spPr>
          <a:xfrm>
            <a:off x="4360849" y="1386315"/>
            <a:ext cx="3462699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4360849" y="4160492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4360849" y="2184802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4360849" y="3455486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0338098" y="2233330"/>
            <a:ext cx="1242136" cy="1159416"/>
          </a:xfrm>
        </p:spPr>
        <p:txBody>
          <a:bodyPr lIns="0" tIns="252000" rIns="0" anchor="t" anchorCtr="0">
            <a:normAutofit/>
          </a:bodyPr>
          <a:lstStyle>
            <a:lvl1pPr marL="0" indent="0">
              <a:buNone/>
              <a:defRPr sz="24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millions</a:t>
            </a:r>
            <a:endParaRPr lang="en-GB"/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8109649" y="2233331"/>
            <a:ext cx="2093607" cy="1159416"/>
          </a:xfr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lIns="0" tIns="144000" rIns="0" anchor="ctr" anchorCtr="0">
            <a:noAutofit/>
          </a:bodyPr>
          <a:lstStyle>
            <a:lvl1pPr marL="0" indent="0" algn="ctr">
              <a:buNone/>
              <a:defRPr sz="8000" b="1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28.5</a:t>
            </a:r>
            <a:endParaRPr lang="en-GB"/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8109649" y="3473661"/>
            <a:ext cx="3470585" cy="577307"/>
          </a:xfrm>
        </p:spPr>
        <p:txBody>
          <a:bodyPr lIns="0" tIns="0" rIns="0" bIns="0" anchor="b" anchorCtr="0">
            <a:normAutofit/>
          </a:bodyPr>
          <a:lstStyle>
            <a:lvl1pPr marL="0" indent="0">
              <a:lnSpc>
                <a:spcPct val="70000"/>
              </a:lnSpc>
              <a:spcAft>
                <a:spcPts val="0"/>
              </a:spcAft>
              <a:buNone/>
              <a:defRPr sz="2000" b="1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Add text</a:t>
            </a:r>
            <a:endParaRPr lang="en-GB"/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8109649" y="1577512"/>
            <a:ext cx="3470584" cy="559527"/>
          </a:xfrm>
        </p:spPr>
        <p:txBody>
          <a:bodyPr lIns="0" rIns="0">
            <a:noAutofit/>
          </a:bodyPr>
          <a:lstStyle>
            <a:lvl1pPr marL="0" indent="0">
              <a:lnSpc>
                <a:spcPct val="70000"/>
              </a:lnSpc>
              <a:buNone/>
              <a:defRPr sz="2400" b="1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Days away for work case </a:t>
            </a:r>
            <a:r>
              <a:rPr lang="en-US" err="1"/>
              <a:t>frequencey</a:t>
            </a:r>
            <a:endParaRPr lang="en-GB"/>
          </a:p>
        </p:txBody>
      </p:sp>
      <p:sp>
        <p:nvSpPr>
          <p:cNvPr id="59" name="Rectangle 58"/>
          <p:cNvSpPr/>
          <p:nvPr/>
        </p:nvSpPr>
        <p:spPr>
          <a:xfrm>
            <a:off x="8109649" y="1386315"/>
            <a:ext cx="3462699" cy="45719"/>
          </a:xfrm>
          <a:prstGeom prst="rect">
            <a:avLst/>
          </a:prstGeom>
          <a:solidFill>
            <a:srgbClr val="7C81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j-lt"/>
            </a:endParaRPr>
          </a:p>
        </p:txBody>
      </p:sp>
      <p:cxnSp>
        <p:nvCxnSpPr>
          <p:cNvPr id="60" name="Straight Connector 59"/>
          <p:cNvCxnSpPr/>
          <p:nvPr/>
        </p:nvCxnSpPr>
        <p:spPr>
          <a:xfrm>
            <a:off x="8109649" y="4156895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>
            <a:off x="8109649" y="2181205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8109649" y="3451889"/>
            <a:ext cx="3465172" cy="0"/>
          </a:xfrm>
          <a:prstGeom prst="line">
            <a:avLst/>
          </a:prstGeom>
          <a:ln w="6350">
            <a:solidFill>
              <a:srgbClr val="7C81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632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/3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AEB7F6-00EE-794E-8EF9-BE823E0E9DFC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 hasCustomPrompt="1"/>
          </p:nvPr>
        </p:nvSpPr>
        <p:spPr>
          <a:xfrm>
            <a:off x="6248182" y="618364"/>
            <a:ext cx="5327590" cy="3995692"/>
          </a:xfrm>
          <a:prstGeom prst="roundRect">
            <a:avLst>
              <a:gd name="adj" fmla="val 4836"/>
            </a:avLst>
          </a:prstGeom>
        </p:spPr>
        <p:txBody>
          <a:bodyPr anchor="ctr" anchorCtr="0"/>
          <a:lstStyle>
            <a:lvl1pPr marL="0" indent="0" algn="ctr">
              <a:buNone/>
              <a:defRPr sz="3200" baseline="0">
                <a:latin typeface="+mj-lt"/>
              </a:defRPr>
            </a:lvl1pPr>
          </a:lstStyle>
          <a:p>
            <a:r>
              <a:rPr lang="en-GB"/>
              <a:t>Add movie 4/3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10132" y="1918247"/>
            <a:ext cx="5332050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5332051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39"/>
          </p:nvPr>
        </p:nvSpPr>
        <p:spPr>
          <a:xfrm>
            <a:off x="610680" y="1031914"/>
            <a:ext cx="5332591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248181" y="4181908"/>
            <a:ext cx="5327589" cy="432148"/>
          </a:xfrm>
          <a:prstGeom prst="rect">
            <a:avLst/>
          </a:prstGeom>
          <a:noFill/>
        </p:spPr>
        <p:txBody>
          <a:bodyPr vert="horz" lIns="108000" tIns="108000" rIns="108000" bIns="108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71378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/9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7F493E-3902-7545-91B3-4D5EFEC14FA5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 hasCustomPrompt="1"/>
          </p:nvPr>
        </p:nvSpPr>
        <p:spPr>
          <a:xfrm>
            <a:off x="6248181" y="618363"/>
            <a:ext cx="5327590" cy="2996769"/>
          </a:xfrm>
          <a:prstGeom prst="roundRect">
            <a:avLst>
              <a:gd name="adj" fmla="val 7020"/>
            </a:avLst>
          </a:prstGeom>
        </p:spPr>
        <p:txBody>
          <a:bodyPr anchor="ctr" anchorCtr="0"/>
          <a:lstStyle>
            <a:lvl1pPr marL="0" indent="0" algn="ctr">
              <a:buNone/>
              <a:defRPr sz="3200" baseline="0">
                <a:latin typeface="+mj-lt"/>
              </a:defRPr>
            </a:lvl1pPr>
          </a:lstStyle>
          <a:p>
            <a:r>
              <a:rPr lang="en-GB"/>
              <a:t>Add movie 16/9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610132" y="1918247"/>
            <a:ext cx="5332050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5332051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39"/>
          </p:nvPr>
        </p:nvSpPr>
        <p:spPr>
          <a:xfrm>
            <a:off x="610680" y="1031914"/>
            <a:ext cx="5332591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38" hasCustomPrompt="1"/>
          </p:nvPr>
        </p:nvSpPr>
        <p:spPr>
          <a:xfrm>
            <a:off x="6248181" y="3182984"/>
            <a:ext cx="5327589" cy="432148"/>
          </a:xfrm>
          <a:prstGeom prst="rect">
            <a:avLst/>
          </a:prstGeom>
          <a:noFill/>
        </p:spPr>
        <p:txBody>
          <a:bodyPr vert="horz" lIns="108000" tIns="108000" rIns="108000" bIns="108000" rtlCol="0" anchor="b" anchorCtr="0">
            <a:noAutofit/>
          </a:bodyPr>
          <a:lstStyle>
            <a:lvl1pPr marL="0" indent="0" algn="r">
              <a:spcAft>
                <a:spcPts val="600"/>
              </a:spcAft>
              <a:buNone/>
              <a:defRPr lang="en-US" sz="1400" b="0" cap="none" baseline="0" dirty="0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lvl="0">
              <a:lnSpc>
                <a:spcPct val="100000"/>
              </a:lnSpc>
              <a:spcBef>
                <a:spcPct val="0"/>
              </a:spcBef>
            </a:pPr>
            <a:r>
              <a:rPr lang="en-US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22220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131" y="1918247"/>
            <a:ext cx="10970639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2E68D3-639A-CA4E-BA81-DDDD62FE13A9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4056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/9 media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/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anchor="ctr" anchorCtr="0"/>
          <a:lstStyle>
            <a:lvl1pPr marL="0" indent="0" algn="ctr">
              <a:buNone/>
              <a:defRPr sz="3200" baseline="0">
                <a:latin typeface="+mj-lt"/>
              </a:defRPr>
            </a:lvl1pPr>
          </a:lstStyle>
          <a:p>
            <a:r>
              <a:rPr lang="en-GB"/>
              <a:t>Add movi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E116F7-AECB-B44D-BD3B-D468CF817AF7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359265" y="5871300"/>
            <a:ext cx="9832733" cy="986700"/>
          </a:xfrm>
          <a:blipFill>
            <a:blip r:embed="rId2"/>
            <a:stretch>
              <a:fillRect/>
            </a:stretch>
          </a:blipFill>
        </p:spPr>
        <p:txBody>
          <a:bodyPr tIns="414000"/>
          <a:lstStyle/>
          <a:p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4723775"/>
            <a:ext cx="5338192" cy="944367"/>
          </a:xfrm>
        </p:spPr>
        <p:txBody>
          <a:bodyPr anchor="t" anchorCtr="0">
            <a:noAutofit/>
          </a:bodyPr>
          <a:lstStyle>
            <a:lvl1pPr>
              <a:lnSpc>
                <a:spcPct val="70000"/>
              </a:lnSpc>
              <a:defRPr sz="3600" b="0" baseline="0">
                <a:solidFill>
                  <a:schemeClr val="accent3"/>
                </a:solidFill>
                <a:latin typeface="+mj-lt"/>
              </a:defRPr>
            </a:lvl1pPr>
          </a:lstStyle>
          <a:p>
            <a:r>
              <a:rPr lang="en-US"/>
              <a:t>Media text if used it will be placed in front of media</a:t>
            </a:r>
          </a:p>
        </p:txBody>
      </p:sp>
    </p:spTree>
    <p:extLst>
      <p:ext uri="{BB962C8B-B14F-4D97-AF65-F5344CB8AC3E}">
        <p14:creationId xmlns:p14="http://schemas.microsoft.com/office/powerpoint/2010/main" val="1136772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-1"/>
            <a:ext cx="12192000" cy="6858001"/>
          </a:xfrm>
          <a:prstGeom prst="rect">
            <a:avLst/>
          </a:prstGeom>
          <a:gradFill>
            <a:gsLst>
              <a:gs pos="0">
                <a:srgbClr val="93D083"/>
              </a:gs>
              <a:gs pos="60000">
                <a:srgbClr val="6FC15A"/>
              </a:gs>
              <a:gs pos="100000">
                <a:srgbClr val="4BB13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endParaRPr lang="en-GB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40768" y="1498025"/>
            <a:ext cx="4397289" cy="868776"/>
          </a:xfrm>
        </p:spPr>
        <p:txBody>
          <a:bodyPr/>
          <a:lstStyle>
            <a:lvl1pPr>
              <a:defRPr sz="1600" b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Add: For more information please contact person and other contact information details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2DD8388-148F-1E49-9951-E9274E877AD6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1331" y="5925600"/>
            <a:ext cx="2120669" cy="932400"/>
          </a:xfrm>
          <a:prstGeom prst="rect">
            <a:avLst/>
          </a:prstGeom>
        </p:spPr>
      </p:pic>
      <p:sp>
        <p:nvSpPr>
          <p:cNvPr id="14" name="Text Placehold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0768" y="1101316"/>
            <a:ext cx="5332591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Add: Thank You</a:t>
            </a:r>
          </a:p>
        </p:txBody>
      </p:sp>
    </p:spTree>
    <p:extLst>
      <p:ext uri="{BB962C8B-B14F-4D97-AF65-F5344CB8AC3E}">
        <p14:creationId xmlns:p14="http://schemas.microsoft.com/office/powerpoint/2010/main" val="4139122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31" y="355600"/>
            <a:ext cx="10970103" cy="450325"/>
          </a:xfrm>
        </p:spPr>
        <p:txBody>
          <a:bodyPr/>
          <a:lstStyle>
            <a:lvl1pPr>
              <a:defRPr>
                <a:latin typeface="Arla InterFace" panose="020B0604020202020204" charset="0"/>
              </a:defRPr>
            </a:lvl1pPr>
          </a:lstStyle>
          <a:p>
            <a:r>
              <a:rPr lang="da-DK"/>
              <a:t>Klik for at redigere i master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131" y="1918247"/>
            <a:ext cx="10970639" cy="3626702"/>
          </a:xfrm>
        </p:spPr>
        <p:txBody>
          <a:bodyPr/>
          <a:lstStyle>
            <a:lvl1pPr>
              <a:defRPr>
                <a:latin typeface="Arla InterFace" panose="020B0604020202020204" charset="0"/>
              </a:defRPr>
            </a:lvl1pPr>
            <a:lvl2pPr>
              <a:defRPr>
                <a:latin typeface="Arla InterFace" panose="020B0604020202020204" charset="0"/>
              </a:defRPr>
            </a:lvl2pPr>
            <a:lvl3pPr>
              <a:defRPr>
                <a:latin typeface="Arla InterFace" panose="020B0604020202020204" charset="0"/>
              </a:defRPr>
            </a:lvl3pPr>
            <a:lvl4pPr>
              <a:defRPr>
                <a:latin typeface="Arla InterFace" panose="020B0604020202020204" charset="0"/>
              </a:defRPr>
            </a:lvl4pPr>
            <a:lvl5pPr>
              <a:defRPr>
                <a:latin typeface="Arla InterFace" panose="020B0604020202020204" charset="0"/>
              </a:defRPr>
            </a:lvl5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la InterFace" panose="020B060402020202020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7496A89-B207-4C35-B16C-6A33B31838F6}" type="datetime4">
              <a:rPr kumimoji="0" lang="en-GB" sz="800" b="0" i="0" u="none" strike="noStrike" kern="1200" cap="none" spc="50" normalizeH="0" baseline="0" noProof="0" smtClean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 panose="020B060402020202020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February 2023</a:t>
            </a:fld>
            <a:endParaRPr kumimoji="0" lang="en-GB" sz="800" b="0" i="0" u="none" strike="noStrike" kern="1200" cap="none" spc="50" normalizeH="0" baseline="0" noProof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la InterFace" panose="020B060402020202020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50" normalizeH="0" baseline="0" noProof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la InterFace" panose="020B060402020202020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F4350-96BB-4521-B35C-BA8D30ECD9A1}" type="slidenum">
              <a:rPr kumimoji="0" lang="en-GB" sz="800" b="0" i="0" u="none" strike="noStrike" kern="1200" cap="none" spc="50" normalizeH="0" baseline="0" noProof="0" smtClean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 panose="020B060402020202020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50" normalizeH="0" baseline="0" noProof="0" dirty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 panose="020B0604020202020204" charset="0"/>
              <a:ea typeface="+mn-ea"/>
              <a:cs typeface="+mn-cs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828785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800">
                <a:solidFill>
                  <a:schemeClr val="bg2"/>
                </a:solidFill>
                <a:latin typeface="Arla InterFace" panose="020B060402020202020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367293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C6623F-672E-4FE9-BEBA-C2634EB2EBE0}" type="datetime4">
              <a:rPr kumimoji="0" lang="en-GB" sz="800" b="0" i="0" u="none" strike="noStrike" kern="1200" cap="none" spc="50" normalizeH="0" baseline="0" noProof="0" smtClean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February 2023</a:t>
            </a:fld>
            <a:endParaRPr kumimoji="0" lang="en-GB" sz="800" b="0" i="0" u="none" strike="noStrike" kern="1200" cap="none" spc="50" normalizeH="0" baseline="0" noProof="0" dirty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50" normalizeH="0" baseline="0" noProof="0" dirty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F4350-96BB-4521-B35C-BA8D30ECD9A1}" type="slidenum">
              <a:rPr kumimoji="0" lang="en-GB" sz="800" b="0" i="0" u="none" strike="noStrike" kern="1200" cap="none" spc="50" normalizeH="0" baseline="0" noProof="0" smtClean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50" normalizeH="0" baseline="0" noProof="0" dirty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217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2000" err="1"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0131" y="1918247"/>
            <a:ext cx="10970639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1C809-AF29-7447-959C-28EB923B9F32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6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8471" y="6439937"/>
            <a:ext cx="1794424" cy="245896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y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37C23-4C88-9542-99EA-A7B55FB7E85B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ounded Rectangle 7"/>
          <p:cNvSpPr/>
          <p:nvPr/>
        </p:nvSpPr>
        <p:spPr>
          <a:xfrm>
            <a:off x="610680" y="1918246"/>
            <a:ext cx="10971213" cy="3635275"/>
          </a:xfrm>
          <a:prstGeom prst="roundRect">
            <a:avLst>
              <a:gd name="adj" fmla="val 5498"/>
            </a:avLst>
          </a:prstGeom>
          <a:solidFill>
            <a:srgbClr val="F4F4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27314" y="2166730"/>
            <a:ext cx="10482944" cy="3130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6920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Grey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>
          <a:xfrm>
            <a:off x="610681" y="1918246"/>
            <a:ext cx="5401314" cy="3635275"/>
          </a:xfrm>
          <a:prstGeom prst="roundRect">
            <a:avLst>
              <a:gd name="adj" fmla="val 5498"/>
            </a:avLst>
          </a:prstGeom>
          <a:solidFill>
            <a:srgbClr val="F4F4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Rounded Rectangle 13"/>
          <p:cNvSpPr/>
          <p:nvPr userDrawn="1"/>
        </p:nvSpPr>
        <p:spPr>
          <a:xfrm>
            <a:off x="6178920" y="1918246"/>
            <a:ext cx="5401314" cy="3635275"/>
          </a:xfrm>
          <a:prstGeom prst="roundRect">
            <a:avLst>
              <a:gd name="adj" fmla="val 5498"/>
            </a:avLst>
          </a:prstGeom>
          <a:solidFill>
            <a:srgbClr val="F4F4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B1C2D-402F-CE4C-AEFA-30A55F5ED050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827314" y="2166730"/>
            <a:ext cx="4967498" cy="3130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idx="14"/>
          </p:nvPr>
        </p:nvSpPr>
        <p:spPr>
          <a:xfrm>
            <a:off x="6401643" y="2166730"/>
            <a:ext cx="4967498" cy="31302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067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D82B47-58D2-2548-90CC-C508456AED4C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10680" y="1918247"/>
            <a:ext cx="5331502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248183" y="1918247"/>
            <a:ext cx="5332052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9669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DB6717-838C-A945-9586-C943F744DE9D}" type="datetime3">
              <a:rPr lang="en-GB" smtClean="0"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EF4350-96BB-4521-B35C-BA8D30ECD9A1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610680" y="1918247"/>
            <a:ext cx="3452152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368832" y="1918247"/>
            <a:ext cx="3452701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8129192" y="1918247"/>
            <a:ext cx="3452701" cy="362670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610131" y="558729"/>
            <a:ext cx="10970103" cy="4503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10680" y="1031914"/>
            <a:ext cx="10971214" cy="3927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000" spc="100" baseline="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004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0131" y="558729"/>
            <a:ext cx="10970103" cy="8687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0680" y="1898373"/>
            <a:ext cx="10970639" cy="3646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9373" y="6491442"/>
            <a:ext cx="1126473" cy="16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spc="50" baseline="0">
                <a:solidFill>
                  <a:srgbClr val="00528E"/>
                </a:solidFill>
              </a:defRPr>
            </a:lvl1pPr>
          </a:lstStyle>
          <a:p>
            <a:fld id="{86A19291-231C-7A4C-B693-0A464D55E2E1}" type="datetime3">
              <a:rPr lang="en-GB" smtClean="0"/>
              <a:pPr/>
              <a:t>22 February, 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7815" y="6491442"/>
            <a:ext cx="2581224" cy="16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spc="50" baseline="0">
                <a:solidFill>
                  <a:srgbClr val="00528E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76514" y="6491442"/>
            <a:ext cx="303720" cy="163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spc="50" baseline="0">
                <a:solidFill>
                  <a:srgbClr val="00528E"/>
                </a:solidFill>
              </a:defRPr>
            </a:lvl1pPr>
          </a:lstStyle>
          <a:p>
            <a:fld id="{9AEF4350-96BB-4521-B35C-BA8D30ECD9A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>
          <a:xfrm>
            <a:off x="638471" y="6439937"/>
            <a:ext cx="1794424" cy="245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49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05" r:id="rId2"/>
    <p:sldLayoutId id="2147483739" r:id="rId3"/>
    <p:sldLayoutId id="2147483661" r:id="rId4"/>
    <p:sldLayoutId id="2147483753" r:id="rId5"/>
    <p:sldLayoutId id="2147483686" r:id="rId6"/>
    <p:sldLayoutId id="2147483751" r:id="rId7"/>
    <p:sldLayoutId id="2147483708" r:id="rId8"/>
    <p:sldLayoutId id="2147483709" r:id="rId9"/>
    <p:sldLayoutId id="2147483710" r:id="rId10"/>
    <p:sldLayoutId id="2147483706" r:id="rId11"/>
    <p:sldLayoutId id="2147483666" r:id="rId12"/>
    <p:sldLayoutId id="2147483674" r:id="rId13"/>
    <p:sldLayoutId id="2147483749" r:id="rId14"/>
    <p:sldLayoutId id="2147483697" r:id="rId15"/>
    <p:sldLayoutId id="2147483747" r:id="rId16"/>
    <p:sldLayoutId id="2147483745" r:id="rId17"/>
    <p:sldLayoutId id="2147483746" r:id="rId18"/>
    <p:sldLayoutId id="2147483750" r:id="rId19"/>
    <p:sldLayoutId id="2147483744" r:id="rId20"/>
    <p:sldLayoutId id="2147483748" r:id="rId21"/>
    <p:sldLayoutId id="2147483672" r:id="rId22"/>
    <p:sldLayoutId id="2147483714" r:id="rId23"/>
    <p:sldLayoutId id="2147483723" r:id="rId24"/>
    <p:sldLayoutId id="2147483725" r:id="rId25"/>
    <p:sldLayoutId id="2147483724" r:id="rId26"/>
    <p:sldLayoutId id="2147483728" r:id="rId27"/>
    <p:sldLayoutId id="2147483727" r:id="rId28"/>
    <p:sldLayoutId id="2147483682" r:id="rId29"/>
    <p:sldLayoutId id="2147483729" r:id="rId30"/>
    <p:sldLayoutId id="2147483730" r:id="rId31"/>
    <p:sldLayoutId id="2147483731" r:id="rId32"/>
    <p:sldLayoutId id="2147483689" r:id="rId33"/>
    <p:sldLayoutId id="2147483688" r:id="rId34"/>
    <p:sldLayoutId id="2147483722" r:id="rId35"/>
    <p:sldLayoutId id="2147483684" r:id="rId36"/>
    <p:sldLayoutId id="2147483690" r:id="rId37"/>
    <p:sldLayoutId id="2147483736" r:id="rId38"/>
    <p:sldLayoutId id="2147483735" r:id="rId39"/>
    <p:sldLayoutId id="2147483733" r:id="rId40"/>
    <p:sldLayoutId id="2147483695" r:id="rId41"/>
    <p:sldLayoutId id="2147483755" r:id="rId42"/>
    <p:sldLayoutId id="2147483756" r:id="rId43"/>
  </p:sldLayoutIdLst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0" kern="1200" spc="100" baseline="0">
          <a:solidFill>
            <a:srgbClr val="00B0F0"/>
          </a:solidFill>
          <a:latin typeface="Arla InterFace" panose="020B05030202030203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8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000" kern="1200">
          <a:solidFill>
            <a:srgbClr val="002060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8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800" kern="1200">
          <a:solidFill>
            <a:srgbClr val="002060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8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rgbClr val="002060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8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rgbClr val="002060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8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200" kern="1200">
          <a:solidFill>
            <a:srgbClr val="002060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kma@nexs.ku.d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Relationship Id="rId4" Type="http://schemas.openxmlformats.org/officeDocument/2006/relationships/hyperlink" Target="mailto:ks@dca.au.dk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4886D4-5F14-41AF-AFC5-0258F3B2D7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LA STRONG" panose="00000500000000000000" pitchFamily="2" charset="0"/>
              </a:rPr>
              <a:t>Communication templates</a:t>
            </a:r>
          </a:p>
        </p:txBody>
      </p:sp>
      <p:sp>
        <p:nvSpPr>
          <p:cNvPr id="6" name="Freeform 8"/>
          <p:cNvSpPr/>
          <p:nvPr/>
        </p:nvSpPr>
        <p:spPr>
          <a:xfrm>
            <a:off x="610131" y="1459523"/>
            <a:ext cx="7721882" cy="4596221"/>
          </a:xfrm>
          <a:custGeom>
            <a:avLst/>
            <a:gdLst>
              <a:gd name="connsiteX0" fmla="*/ 0 w 8242198"/>
              <a:gd name="connsiteY0" fmla="*/ 55314 h 553139"/>
              <a:gd name="connsiteX1" fmla="*/ 16201 w 8242198"/>
              <a:gd name="connsiteY1" fmla="*/ 16201 h 553139"/>
              <a:gd name="connsiteX2" fmla="*/ 55314 w 8242198"/>
              <a:gd name="connsiteY2" fmla="*/ 0 h 553139"/>
              <a:gd name="connsiteX3" fmla="*/ 8186884 w 8242198"/>
              <a:gd name="connsiteY3" fmla="*/ 0 h 553139"/>
              <a:gd name="connsiteX4" fmla="*/ 8225997 w 8242198"/>
              <a:gd name="connsiteY4" fmla="*/ 16201 h 553139"/>
              <a:gd name="connsiteX5" fmla="*/ 8242198 w 8242198"/>
              <a:gd name="connsiteY5" fmla="*/ 55314 h 553139"/>
              <a:gd name="connsiteX6" fmla="*/ 8242198 w 8242198"/>
              <a:gd name="connsiteY6" fmla="*/ 497825 h 553139"/>
              <a:gd name="connsiteX7" fmla="*/ 8225997 w 8242198"/>
              <a:gd name="connsiteY7" fmla="*/ 536938 h 553139"/>
              <a:gd name="connsiteX8" fmla="*/ 8186884 w 8242198"/>
              <a:gd name="connsiteY8" fmla="*/ 553139 h 553139"/>
              <a:gd name="connsiteX9" fmla="*/ 55314 w 8242198"/>
              <a:gd name="connsiteY9" fmla="*/ 553139 h 553139"/>
              <a:gd name="connsiteX10" fmla="*/ 16201 w 8242198"/>
              <a:gd name="connsiteY10" fmla="*/ 536938 h 553139"/>
              <a:gd name="connsiteX11" fmla="*/ 0 w 8242198"/>
              <a:gd name="connsiteY11" fmla="*/ 497825 h 553139"/>
              <a:gd name="connsiteX12" fmla="*/ 0 w 8242198"/>
              <a:gd name="connsiteY12" fmla="*/ 55314 h 553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242198" h="553139">
                <a:moveTo>
                  <a:pt x="0" y="55314"/>
                </a:moveTo>
                <a:cubicBezTo>
                  <a:pt x="0" y="40644"/>
                  <a:pt x="5828" y="26574"/>
                  <a:pt x="16201" y="16201"/>
                </a:cubicBezTo>
                <a:cubicBezTo>
                  <a:pt x="26574" y="5828"/>
                  <a:pt x="40644" y="0"/>
                  <a:pt x="55314" y="0"/>
                </a:cubicBezTo>
                <a:lnTo>
                  <a:pt x="8186884" y="0"/>
                </a:lnTo>
                <a:cubicBezTo>
                  <a:pt x="8201554" y="0"/>
                  <a:pt x="8215624" y="5828"/>
                  <a:pt x="8225997" y="16201"/>
                </a:cubicBezTo>
                <a:cubicBezTo>
                  <a:pt x="8236370" y="26574"/>
                  <a:pt x="8242198" y="40644"/>
                  <a:pt x="8242198" y="55314"/>
                </a:cubicBezTo>
                <a:lnTo>
                  <a:pt x="8242198" y="497825"/>
                </a:lnTo>
                <a:cubicBezTo>
                  <a:pt x="8242198" y="512495"/>
                  <a:pt x="8236370" y="526565"/>
                  <a:pt x="8225997" y="536938"/>
                </a:cubicBezTo>
                <a:cubicBezTo>
                  <a:pt x="8215624" y="547311"/>
                  <a:pt x="8201554" y="553139"/>
                  <a:pt x="8186884" y="553139"/>
                </a:cubicBezTo>
                <a:lnTo>
                  <a:pt x="55314" y="553139"/>
                </a:lnTo>
                <a:cubicBezTo>
                  <a:pt x="40644" y="553139"/>
                  <a:pt x="26574" y="547311"/>
                  <a:pt x="16201" y="536938"/>
                </a:cubicBezTo>
                <a:cubicBezTo>
                  <a:pt x="5828" y="526565"/>
                  <a:pt x="0" y="512495"/>
                  <a:pt x="0" y="497825"/>
                </a:cubicBezTo>
                <a:lnTo>
                  <a:pt x="0" y="55314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The purpose of the AFH project communication template is to align expectations on communication throughout AFH sponsored projects.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The responsibility of filling the template lies with the PI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In the final application, a final communication plan shall be prepared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</a:b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The final communication plan should be developed in cooperation between the PI and the local university communication specialists related to AFH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7" name="Afrundet rektangel 6"/>
          <p:cNvSpPr/>
          <p:nvPr/>
        </p:nvSpPr>
        <p:spPr>
          <a:xfrm>
            <a:off x="8478317" y="1366956"/>
            <a:ext cx="3277073" cy="468878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Contact points for communicatio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University of Copenhagen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Kristian Levring Madsen,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Department of Nutrition, Exercise and Sport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hone: +45 40 48 16 84</a:t>
            </a:r>
            <a:b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</a:b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Mail: </a:t>
            </a: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  <a:hlinkClick r:id="rId3"/>
              </a:rPr>
              <a:t>kma@nexs.ku.dk</a:t>
            </a: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Aarhus University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Jesper </a:t>
            </a:r>
            <a:r>
              <a:rPr kumimoji="0" lang="nb-NO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Emboerg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Danish Centre for  Food and Agricultur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hone: +45 61220291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Mail: </a:t>
            </a:r>
            <a:r>
              <a:rPr kumimoji="0" lang="nb-NO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je</a:t>
            </a:r>
            <a:r>
              <a:rPr lang="nb-NO" sz="1600" dirty="0">
                <a:solidFill>
                  <a:prstClr val="white"/>
                </a:solidFill>
                <a:latin typeface="Arla InterFace"/>
                <a:hlinkClick r:id="rId4"/>
              </a:rPr>
              <a:t>@dca.au</a:t>
            </a:r>
            <a:r>
              <a:rPr lang="nb-NO" sz="1600">
                <a:solidFill>
                  <a:prstClr val="white"/>
                </a:solidFill>
                <a:latin typeface="Arla InterFace"/>
                <a:hlinkClick r:id="rId4"/>
              </a:rPr>
              <a:t>.dk</a:t>
            </a:r>
            <a:endParaRPr lang="nb-NO" sz="1600" dirty="0">
              <a:solidFill>
                <a:prstClr val="white"/>
              </a:solidFill>
              <a:latin typeface="Arla InterFace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3383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/>
        </p:nvSpPr>
        <p:spPr>
          <a:xfrm>
            <a:off x="955637" y="1425297"/>
            <a:ext cx="9997941" cy="736656"/>
          </a:xfrm>
          <a:custGeom>
            <a:avLst/>
            <a:gdLst>
              <a:gd name="connsiteX0" fmla="*/ 0 w 8242198"/>
              <a:gd name="connsiteY0" fmla="*/ 55314 h 553139"/>
              <a:gd name="connsiteX1" fmla="*/ 16201 w 8242198"/>
              <a:gd name="connsiteY1" fmla="*/ 16201 h 553139"/>
              <a:gd name="connsiteX2" fmla="*/ 55314 w 8242198"/>
              <a:gd name="connsiteY2" fmla="*/ 0 h 553139"/>
              <a:gd name="connsiteX3" fmla="*/ 8186884 w 8242198"/>
              <a:gd name="connsiteY3" fmla="*/ 0 h 553139"/>
              <a:gd name="connsiteX4" fmla="*/ 8225997 w 8242198"/>
              <a:gd name="connsiteY4" fmla="*/ 16201 h 553139"/>
              <a:gd name="connsiteX5" fmla="*/ 8242198 w 8242198"/>
              <a:gd name="connsiteY5" fmla="*/ 55314 h 553139"/>
              <a:gd name="connsiteX6" fmla="*/ 8242198 w 8242198"/>
              <a:gd name="connsiteY6" fmla="*/ 497825 h 553139"/>
              <a:gd name="connsiteX7" fmla="*/ 8225997 w 8242198"/>
              <a:gd name="connsiteY7" fmla="*/ 536938 h 553139"/>
              <a:gd name="connsiteX8" fmla="*/ 8186884 w 8242198"/>
              <a:gd name="connsiteY8" fmla="*/ 553139 h 553139"/>
              <a:gd name="connsiteX9" fmla="*/ 55314 w 8242198"/>
              <a:gd name="connsiteY9" fmla="*/ 553139 h 553139"/>
              <a:gd name="connsiteX10" fmla="*/ 16201 w 8242198"/>
              <a:gd name="connsiteY10" fmla="*/ 536938 h 553139"/>
              <a:gd name="connsiteX11" fmla="*/ 0 w 8242198"/>
              <a:gd name="connsiteY11" fmla="*/ 497825 h 553139"/>
              <a:gd name="connsiteX12" fmla="*/ 0 w 8242198"/>
              <a:gd name="connsiteY12" fmla="*/ 55314 h 553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242198" h="553139">
                <a:moveTo>
                  <a:pt x="0" y="55314"/>
                </a:moveTo>
                <a:cubicBezTo>
                  <a:pt x="0" y="40644"/>
                  <a:pt x="5828" y="26574"/>
                  <a:pt x="16201" y="16201"/>
                </a:cubicBezTo>
                <a:cubicBezTo>
                  <a:pt x="26574" y="5828"/>
                  <a:pt x="40644" y="0"/>
                  <a:pt x="55314" y="0"/>
                </a:cubicBezTo>
                <a:lnTo>
                  <a:pt x="8186884" y="0"/>
                </a:lnTo>
                <a:cubicBezTo>
                  <a:pt x="8201554" y="0"/>
                  <a:pt x="8215624" y="5828"/>
                  <a:pt x="8225997" y="16201"/>
                </a:cubicBezTo>
                <a:cubicBezTo>
                  <a:pt x="8236370" y="26574"/>
                  <a:pt x="8242198" y="40644"/>
                  <a:pt x="8242198" y="55314"/>
                </a:cubicBezTo>
                <a:lnTo>
                  <a:pt x="8242198" y="497825"/>
                </a:lnTo>
                <a:cubicBezTo>
                  <a:pt x="8242198" y="512495"/>
                  <a:pt x="8236370" y="526565"/>
                  <a:pt x="8225997" y="536938"/>
                </a:cubicBezTo>
                <a:cubicBezTo>
                  <a:pt x="8215624" y="547311"/>
                  <a:pt x="8201554" y="553139"/>
                  <a:pt x="8186884" y="553139"/>
                </a:cubicBezTo>
                <a:lnTo>
                  <a:pt x="55314" y="553139"/>
                </a:lnTo>
                <a:cubicBezTo>
                  <a:pt x="40644" y="553139"/>
                  <a:pt x="26574" y="547311"/>
                  <a:pt x="16201" y="536938"/>
                </a:cubicBezTo>
                <a:cubicBezTo>
                  <a:pt x="5828" y="526565"/>
                  <a:pt x="0" y="512495"/>
                  <a:pt x="0" y="497825"/>
                </a:cubicBezTo>
                <a:lnTo>
                  <a:pt x="0" y="55314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roject name</a:t>
            </a:r>
          </a:p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98D5CE-BBF1-4871-9FA2-E8ECE2DD6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131" y="497185"/>
            <a:ext cx="10970103" cy="450325"/>
          </a:xfrm>
        </p:spPr>
        <p:txBody>
          <a:bodyPr/>
          <a:lstStyle/>
          <a:p>
            <a:r>
              <a:rPr lang="da-DK" dirty="0">
                <a:latin typeface="ARLA STRONG" panose="00000500000000000000" pitchFamily="2" charset="0"/>
              </a:rPr>
              <a:t>Project </a:t>
            </a:r>
            <a:r>
              <a:rPr lang="da-DK" dirty="0" err="1">
                <a:latin typeface="ARLA STRONG" panose="00000500000000000000" pitchFamily="2" charset="0"/>
              </a:rPr>
              <a:t>scope</a:t>
            </a:r>
            <a:endParaRPr lang="da-DK" dirty="0">
              <a:latin typeface="ARLA STRONG" panose="00000500000000000000" pitchFamily="2" charset="0"/>
            </a:endParaRPr>
          </a:p>
        </p:txBody>
      </p:sp>
      <p:sp>
        <p:nvSpPr>
          <p:cNvPr id="18" name="Slide Number Placeholder 1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C2335A-005F-4FB0-A35A-A30816DACC3E}" type="slidenum">
              <a:rPr kumimoji="0" lang="en-US" sz="900" b="0" i="0" u="none" strike="noStrike" kern="1200" cap="none" spc="50" normalizeH="0" baseline="0" noProof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900" b="0" i="0" u="none" strike="noStrike" kern="1200" cap="none" spc="50" normalizeH="0" baseline="0" noProof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/>
              <a:ea typeface="+mn-ea"/>
              <a:cs typeface="Arial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6261155-D9BD-432E-9310-8528EDC88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i="1" dirty="0">
                <a:solidFill>
                  <a:schemeClr val="accent4"/>
                </a:solidFill>
              </a:rPr>
              <a:t>To be filled in as part of project application</a:t>
            </a:r>
          </a:p>
        </p:txBody>
      </p:sp>
      <p:sp>
        <p:nvSpPr>
          <p:cNvPr id="19" name="Freeform 18"/>
          <p:cNvSpPr/>
          <p:nvPr/>
        </p:nvSpPr>
        <p:spPr>
          <a:xfrm>
            <a:off x="955636" y="2264673"/>
            <a:ext cx="9997941" cy="1244072"/>
          </a:xfrm>
          <a:custGeom>
            <a:avLst/>
            <a:gdLst>
              <a:gd name="connsiteX0" fmla="*/ 0 w 6563077"/>
              <a:gd name="connsiteY0" fmla="*/ 108170 h 1081701"/>
              <a:gd name="connsiteX1" fmla="*/ 31682 w 6563077"/>
              <a:gd name="connsiteY1" fmla="*/ 31682 h 1081701"/>
              <a:gd name="connsiteX2" fmla="*/ 108170 w 6563077"/>
              <a:gd name="connsiteY2" fmla="*/ 0 h 1081701"/>
              <a:gd name="connsiteX3" fmla="*/ 6454907 w 6563077"/>
              <a:gd name="connsiteY3" fmla="*/ 0 h 1081701"/>
              <a:gd name="connsiteX4" fmla="*/ 6531395 w 6563077"/>
              <a:gd name="connsiteY4" fmla="*/ 31682 h 1081701"/>
              <a:gd name="connsiteX5" fmla="*/ 6563077 w 6563077"/>
              <a:gd name="connsiteY5" fmla="*/ 108170 h 1081701"/>
              <a:gd name="connsiteX6" fmla="*/ 6563077 w 6563077"/>
              <a:gd name="connsiteY6" fmla="*/ 973531 h 1081701"/>
              <a:gd name="connsiteX7" fmla="*/ 6531395 w 6563077"/>
              <a:gd name="connsiteY7" fmla="*/ 1050019 h 1081701"/>
              <a:gd name="connsiteX8" fmla="*/ 6454907 w 6563077"/>
              <a:gd name="connsiteY8" fmla="*/ 1081701 h 1081701"/>
              <a:gd name="connsiteX9" fmla="*/ 108170 w 6563077"/>
              <a:gd name="connsiteY9" fmla="*/ 1081701 h 1081701"/>
              <a:gd name="connsiteX10" fmla="*/ 31682 w 6563077"/>
              <a:gd name="connsiteY10" fmla="*/ 1050019 h 1081701"/>
              <a:gd name="connsiteX11" fmla="*/ 0 w 6563077"/>
              <a:gd name="connsiteY11" fmla="*/ 973531 h 1081701"/>
              <a:gd name="connsiteX12" fmla="*/ 0 w 6563077"/>
              <a:gd name="connsiteY12" fmla="*/ 108170 h 1081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63077" h="1081701">
                <a:moveTo>
                  <a:pt x="0" y="108170"/>
                </a:moveTo>
                <a:cubicBezTo>
                  <a:pt x="0" y="79482"/>
                  <a:pt x="11397" y="51968"/>
                  <a:pt x="31682" y="31682"/>
                </a:cubicBezTo>
                <a:cubicBezTo>
                  <a:pt x="51968" y="11396"/>
                  <a:pt x="79481" y="0"/>
                  <a:pt x="108170" y="0"/>
                </a:cubicBezTo>
                <a:lnTo>
                  <a:pt x="6454907" y="0"/>
                </a:lnTo>
                <a:cubicBezTo>
                  <a:pt x="6483595" y="0"/>
                  <a:pt x="6511109" y="11397"/>
                  <a:pt x="6531395" y="31682"/>
                </a:cubicBezTo>
                <a:cubicBezTo>
                  <a:pt x="6551681" y="51968"/>
                  <a:pt x="6563077" y="79481"/>
                  <a:pt x="6563077" y="108170"/>
                </a:cubicBezTo>
                <a:lnTo>
                  <a:pt x="6563077" y="973531"/>
                </a:lnTo>
                <a:cubicBezTo>
                  <a:pt x="6563077" y="1002219"/>
                  <a:pt x="6551681" y="1029733"/>
                  <a:pt x="6531395" y="1050019"/>
                </a:cubicBezTo>
                <a:cubicBezTo>
                  <a:pt x="6511109" y="1070305"/>
                  <a:pt x="6483596" y="1081701"/>
                  <a:pt x="6454907" y="1081701"/>
                </a:cubicBezTo>
                <a:lnTo>
                  <a:pt x="108170" y="1081701"/>
                </a:lnTo>
                <a:cubicBezTo>
                  <a:pt x="79482" y="1081701"/>
                  <a:pt x="51968" y="1070305"/>
                  <a:pt x="31682" y="1050019"/>
                </a:cubicBezTo>
                <a:cubicBezTo>
                  <a:pt x="11396" y="1029733"/>
                  <a:pt x="0" y="1002220"/>
                  <a:pt x="0" y="973531"/>
                </a:cubicBezTo>
                <a:lnTo>
                  <a:pt x="0" y="108170"/>
                </a:lnTo>
                <a:close/>
              </a:path>
            </a:pathLst>
          </a:custGeom>
          <a:solidFill>
            <a:srgbClr val="3CC4EB"/>
          </a:solidFill>
          <a:ln>
            <a:solidFill>
              <a:srgbClr val="3CC4EB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roject objectives</a:t>
            </a: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lease list the objectives of the project</a:t>
            </a: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5" name="Freeform 18">
            <a:extLst>
              <a:ext uri="{FF2B5EF4-FFF2-40B4-BE49-F238E27FC236}">
                <a16:creationId xmlns:a16="http://schemas.microsoft.com/office/drawing/2014/main" id="{ADFD3F8A-792E-41FC-BEC3-B548F87D476F}"/>
              </a:ext>
            </a:extLst>
          </p:cNvPr>
          <p:cNvSpPr/>
          <p:nvPr/>
        </p:nvSpPr>
        <p:spPr>
          <a:xfrm>
            <a:off x="955636" y="3646904"/>
            <a:ext cx="10059694" cy="1244073"/>
          </a:xfrm>
          <a:custGeom>
            <a:avLst/>
            <a:gdLst>
              <a:gd name="connsiteX0" fmla="*/ 0 w 6563077"/>
              <a:gd name="connsiteY0" fmla="*/ 108170 h 1081701"/>
              <a:gd name="connsiteX1" fmla="*/ 31682 w 6563077"/>
              <a:gd name="connsiteY1" fmla="*/ 31682 h 1081701"/>
              <a:gd name="connsiteX2" fmla="*/ 108170 w 6563077"/>
              <a:gd name="connsiteY2" fmla="*/ 0 h 1081701"/>
              <a:gd name="connsiteX3" fmla="*/ 6454907 w 6563077"/>
              <a:gd name="connsiteY3" fmla="*/ 0 h 1081701"/>
              <a:gd name="connsiteX4" fmla="*/ 6531395 w 6563077"/>
              <a:gd name="connsiteY4" fmla="*/ 31682 h 1081701"/>
              <a:gd name="connsiteX5" fmla="*/ 6563077 w 6563077"/>
              <a:gd name="connsiteY5" fmla="*/ 108170 h 1081701"/>
              <a:gd name="connsiteX6" fmla="*/ 6563077 w 6563077"/>
              <a:gd name="connsiteY6" fmla="*/ 973531 h 1081701"/>
              <a:gd name="connsiteX7" fmla="*/ 6531395 w 6563077"/>
              <a:gd name="connsiteY7" fmla="*/ 1050019 h 1081701"/>
              <a:gd name="connsiteX8" fmla="*/ 6454907 w 6563077"/>
              <a:gd name="connsiteY8" fmla="*/ 1081701 h 1081701"/>
              <a:gd name="connsiteX9" fmla="*/ 108170 w 6563077"/>
              <a:gd name="connsiteY9" fmla="*/ 1081701 h 1081701"/>
              <a:gd name="connsiteX10" fmla="*/ 31682 w 6563077"/>
              <a:gd name="connsiteY10" fmla="*/ 1050019 h 1081701"/>
              <a:gd name="connsiteX11" fmla="*/ 0 w 6563077"/>
              <a:gd name="connsiteY11" fmla="*/ 973531 h 1081701"/>
              <a:gd name="connsiteX12" fmla="*/ 0 w 6563077"/>
              <a:gd name="connsiteY12" fmla="*/ 108170 h 1081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63077" h="1081701">
                <a:moveTo>
                  <a:pt x="0" y="108170"/>
                </a:moveTo>
                <a:cubicBezTo>
                  <a:pt x="0" y="79482"/>
                  <a:pt x="11397" y="51968"/>
                  <a:pt x="31682" y="31682"/>
                </a:cubicBezTo>
                <a:cubicBezTo>
                  <a:pt x="51968" y="11396"/>
                  <a:pt x="79481" y="0"/>
                  <a:pt x="108170" y="0"/>
                </a:cubicBezTo>
                <a:lnTo>
                  <a:pt x="6454907" y="0"/>
                </a:lnTo>
                <a:cubicBezTo>
                  <a:pt x="6483595" y="0"/>
                  <a:pt x="6511109" y="11397"/>
                  <a:pt x="6531395" y="31682"/>
                </a:cubicBezTo>
                <a:cubicBezTo>
                  <a:pt x="6551681" y="51968"/>
                  <a:pt x="6563077" y="79481"/>
                  <a:pt x="6563077" y="108170"/>
                </a:cubicBezTo>
                <a:lnTo>
                  <a:pt x="6563077" y="973531"/>
                </a:lnTo>
                <a:cubicBezTo>
                  <a:pt x="6563077" y="1002219"/>
                  <a:pt x="6551681" y="1029733"/>
                  <a:pt x="6531395" y="1050019"/>
                </a:cubicBezTo>
                <a:cubicBezTo>
                  <a:pt x="6511109" y="1070305"/>
                  <a:pt x="6483596" y="1081701"/>
                  <a:pt x="6454907" y="1081701"/>
                </a:cubicBezTo>
                <a:lnTo>
                  <a:pt x="108170" y="1081701"/>
                </a:lnTo>
                <a:cubicBezTo>
                  <a:pt x="79482" y="1081701"/>
                  <a:pt x="51968" y="1070305"/>
                  <a:pt x="31682" y="1050019"/>
                </a:cubicBezTo>
                <a:cubicBezTo>
                  <a:pt x="11396" y="1029733"/>
                  <a:pt x="0" y="1002220"/>
                  <a:pt x="0" y="973531"/>
                </a:cubicBezTo>
                <a:lnTo>
                  <a:pt x="0" y="10817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Expected project impact</a:t>
            </a: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List the expected  impact of the project. </a:t>
            </a: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3" name="Freeform 10"/>
          <p:cNvSpPr/>
          <p:nvPr/>
        </p:nvSpPr>
        <p:spPr>
          <a:xfrm>
            <a:off x="955636" y="4993696"/>
            <a:ext cx="9997941" cy="1382232"/>
          </a:xfrm>
          <a:custGeom>
            <a:avLst/>
            <a:gdLst>
              <a:gd name="connsiteX0" fmla="*/ 0 w 6563077"/>
              <a:gd name="connsiteY0" fmla="*/ 108170 h 1081701"/>
              <a:gd name="connsiteX1" fmla="*/ 31682 w 6563077"/>
              <a:gd name="connsiteY1" fmla="*/ 31682 h 1081701"/>
              <a:gd name="connsiteX2" fmla="*/ 108170 w 6563077"/>
              <a:gd name="connsiteY2" fmla="*/ 0 h 1081701"/>
              <a:gd name="connsiteX3" fmla="*/ 6454907 w 6563077"/>
              <a:gd name="connsiteY3" fmla="*/ 0 h 1081701"/>
              <a:gd name="connsiteX4" fmla="*/ 6531395 w 6563077"/>
              <a:gd name="connsiteY4" fmla="*/ 31682 h 1081701"/>
              <a:gd name="connsiteX5" fmla="*/ 6563077 w 6563077"/>
              <a:gd name="connsiteY5" fmla="*/ 108170 h 1081701"/>
              <a:gd name="connsiteX6" fmla="*/ 6563077 w 6563077"/>
              <a:gd name="connsiteY6" fmla="*/ 973531 h 1081701"/>
              <a:gd name="connsiteX7" fmla="*/ 6531395 w 6563077"/>
              <a:gd name="connsiteY7" fmla="*/ 1050019 h 1081701"/>
              <a:gd name="connsiteX8" fmla="*/ 6454907 w 6563077"/>
              <a:gd name="connsiteY8" fmla="*/ 1081701 h 1081701"/>
              <a:gd name="connsiteX9" fmla="*/ 108170 w 6563077"/>
              <a:gd name="connsiteY9" fmla="*/ 1081701 h 1081701"/>
              <a:gd name="connsiteX10" fmla="*/ 31682 w 6563077"/>
              <a:gd name="connsiteY10" fmla="*/ 1050019 h 1081701"/>
              <a:gd name="connsiteX11" fmla="*/ 0 w 6563077"/>
              <a:gd name="connsiteY11" fmla="*/ 973531 h 1081701"/>
              <a:gd name="connsiteX12" fmla="*/ 0 w 6563077"/>
              <a:gd name="connsiteY12" fmla="*/ 108170 h 1081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63077" h="1081701">
                <a:moveTo>
                  <a:pt x="0" y="108170"/>
                </a:moveTo>
                <a:cubicBezTo>
                  <a:pt x="0" y="79482"/>
                  <a:pt x="11397" y="51968"/>
                  <a:pt x="31682" y="31682"/>
                </a:cubicBezTo>
                <a:cubicBezTo>
                  <a:pt x="51968" y="11396"/>
                  <a:pt x="79481" y="0"/>
                  <a:pt x="108170" y="0"/>
                </a:cubicBezTo>
                <a:lnTo>
                  <a:pt x="6454907" y="0"/>
                </a:lnTo>
                <a:cubicBezTo>
                  <a:pt x="6483595" y="0"/>
                  <a:pt x="6511109" y="11397"/>
                  <a:pt x="6531395" y="31682"/>
                </a:cubicBezTo>
                <a:cubicBezTo>
                  <a:pt x="6551681" y="51968"/>
                  <a:pt x="6563077" y="79481"/>
                  <a:pt x="6563077" y="108170"/>
                </a:cubicBezTo>
                <a:lnTo>
                  <a:pt x="6563077" y="973531"/>
                </a:lnTo>
                <a:cubicBezTo>
                  <a:pt x="6563077" y="1002219"/>
                  <a:pt x="6551681" y="1029733"/>
                  <a:pt x="6531395" y="1050019"/>
                </a:cubicBezTo>
                <a:cubicBezTo>
                  <a:pt x="6511109" y="1070305"/>
                  <a:pt x="6483596" y="1081701"/>
                  <a:pt x="6454907" y="1081701"/>
                </a:cubicBezTo>
                <a:lnTo>
                  <a:pt x="108170" y="1081701"/>
                </a:lnTo>
                <a:cubicBezTo>
                  <a:pt x="79482" y="1081701"/>
                  <a:pt x="51968" y="1070305"/>
                  <a:pt x="31682" y="1050019"/>
                </a:cubicBezTo>
                <a:cubicBezTo>
                  <a:pt x="11396" y="1029733"/>
                  <a:pt x="0" y="1002220"/>
                  <a:pt x="0" y="973531"/>
                </a:cubicBezTo>
                <a:lnTo>
                  <a:pt x="0" y="10817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roject communication objectives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List the communication objectives of the project. </a:t>
            </a:r>
            <a:r>
              <a:rPr kumimoji="0" lang="en-GB" sz="11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For example reaching particular groups of stakeholders with information on health or nutritional issues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2" name="Tekstfelt 1"/>
          <p:cNvSpPr txBox="1"/>
          <p:nvPr/>
        </p:nvSpPr>
        <p:spPr>
          <a:xfrm rot="667780">
            <a:off x="9027754" y="479253"/>
            <a:ext cx="3016007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Communication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 template</a:t>
            </a:r>
          </a:p>
        </p:txBody>
      </p:sp>
    </p:spTree>
    <p:extLst>
      <p:ext uri="{BB962C8B-B14F-4D97-AF65-F5344CB8AC3E}">
        <p14:creationId xmlns:p14="http://schemas.microsoft.com/office/powerpoint/2010/main" val="207674332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 8"/>
          <p:cNvSpPr/>
          <p:nvPr/>
        </p:nvSpPr>
        <p:spPr>
          <a:xfrm>
            <a:off x="955637" y="1425297"/>
            <a:ext cx="9997941" cy="793363"/>
          </a:xfrm>
          <a:custGeom>
            <a:avLst/>
            <a:gdLst>
              <a:gd name="connsiteX0" fmla="*/ 0 w 8242198"/>
              <a:gd name="connsiteY0" fmla="*/ 55314 h 553139"/>
              <a:gd name="connsiteX1" fmla="*/ 16201 w 8242198"/>
              <a:gd name="connsiteY1" fmla="*/ 16201 h 553139"/>
              <a:gd name="connsiteX2" fmla="*/ 55314 w 8242198"/>
              <a:gd name="connsiteY2" fmla="*/ 0 h 553139"/>
              <a:gd name="connsiteX3" fmla="*/ 8186884 w 8242198"/>
              <a:gd name="connsiteY3" fmla="*/ 0 h 553139"/>
              <a:gd name="connsiteX4" fmla="*/ 8225997 w 8242198"/>
              <a:gd name="connsiteY4" fmla="*/ 16201 h 553139"/>
              <a:gd name="connsiteX5" fmla="*/ 8242198 w 8242198"/>
              <a:gd name="connsiteY5" fmla="*/ 55314 h 553139"/>
              <a:gd name="connsiteX6" fmla="*/ 8242198 w 8242198"/>
              <a:gd name="connsiteY6" fmla="*/ 497825 h 553139"/>
              <a:gd name="connsiteX7" fmla="*/ 8225997 w 8242198"/>
              <a:gd name="connsiteY7" fmla="*/ 536938 h 553139"/>
              <a:gd name="connsiteX8" fmla="*/ 8186884 w 8242198"/>
              <a:gd name="connsiteY8" fmla="*/ 553139 h 553139"/>
              <a:gd name="connsiteX9" fmla="*/ 55314 w 8242198"/>
              <a:gd name="connsiteY9" fmla="*/ 553139 h 553139"/>
              <a:gd name="connsiteX10" fmla="*/ 16201 w 8242198"/>
              <a:gd name="connsiteY10" fmla="*/ 536938 h 553139"/>
              <a:gd name="connsiteX11" fmla="*/ 0 w 8242198"/>
              <a:gd name="connsiteY11" fmla="*/ 497825 h 553139"/>
              <a:gd name="connsiteX12" fmla="*/ 0 w 8242198"/>
              <a:gd name="connsiteY12" fmla="*/ 55314 h 5531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8242198" h="553139">
                <a:moveTo>
                  <a:pt x="0" y="55314"/>
                </a:moveTo>
                <a:cubicBezTo>
                  <a:pt x="0" y="40644"/>
                  <a:pt x="5828" y="26574"/>
                  <a:pt x="16201" y="16201"/>
                </a:cubicBezTo>
                <a:cubicBezTo>
                  <a:pt x="26574" y="5828"/>
                  <a:pt x="40644" y="0"/>
                  <a:pt x="55314" y="0"/>
                </a:cubicBezTo>
                <a:lnTo>
                  <a:pt x="8186884" y="0"/>
                </a:lnTo>
                <a:cubicBezTo>
                  <a:pt x="8201554" y="0"/>
                  <a:pt x="8215624" y="5828"/>
                  <a:pt x="8225997" y="16201"/>
                </a:cubicBezTo>
                <a:cubicBezTo>
                  <a:pt x="8236370" y="26574"/>
                  <a:pt x="8242198" y="40644"/>
                  <a:pt x="8242198" y="55314"/>
                </a:cubicBezTo>
                <a:lnTo>
                  <a:pt x="8242198" y="497825"/>
                </a:lnTo>
                <a:cubicBezTo>
                  <a:pt x="8242198" y="512495"/>
                  <a:pt x="8236370" y="526565"/>
                  <a:pt x="8225997" y="536938"/>
                </a:cubicBezTo>
                <a:cubicBezTo>
                  <a:pt x="8215624" y="547311"/>
                  <a:pt x="8201554" y="553139"/>
                  <a:pt x="8186884" y="553139"/>
                </a:cubicBezTo>
                <a:lnTo>
                  <a:pt x="55314" y="553139"/>
                </a:lnTo>
                <a:cubicBezTo>
                  <a:pt x="40644" y="553139"/>
                  <a:pt x="26574" y="547311"/>
                  <a:pt x="16201" y="536938"/>
                </a:cubicBezTo>
                <a:cubicBezTo>
                  <a:pt x="5828" y="526565"/>
                  <a:pt x="0" y="512495"/>
                  <a:pt x="0" y="497825"/>
                </a:cubicBezTo>
                <a:lnTo>
                  <a:pt x="0" y="55314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roject name</a:t>
            </a:r>
          </a:p>
          <a:p>
            <a:pPr marL="0" marR="0" lvl="0" indent="0" algn="ctr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2" name="Freeform 11"/>
          <p:cNvSpPr/>
          <p:nvPr/>
        </p:nvSpPr>
        <p:spPr>
          <a:xfrm>
            <a:off x="4862623" y="2413530"/>
            <a:ext cx="3664689" cy="3604498"/>
          </a:xfrm>
          <a:custGeom>
            <a:avLst/>
            <a:gdLst>
              <a:gd name="connsiteX0" fmla="*/ 0 w 6537477"/>
              <a:gd name="connsiteY0" fmla="*/ 72461 h 724610"/>
              <a:gd name="connsiteX1" fmla="*/ 21223 w 6537477"/>
              <a:gd name="connsiteY1" fmla="*/ 21223 h 724610"/>
              <a:gd name="connsiteX2" fmla="*/ 72461 w 6537477"/>
              <a:gd name="connsiteY2" fmla="*/ 0 h 724610"/>
              <a:gd name="connsiteX3" fmla="*/ 6465016 w 6537477"/>
              <a:gd name="connsiteY3" fmla="*/ 0 h 724610"/>
              <a:gd name="connsiteX4" fmla="*/ 6516254 w 6537477"/>
              <a:gd name="connsiteY4" fmla="*/ 21223 h 724610"/>
              <a:gd name="connsiteX5" fmla="*/ 6537477 w 6537477"/>
              <a:gd name="connsiteY5" fmla="*/ 72461 h 724610"/>
              <a:gd name="connsiteX6" fmla="*/ 6537477 w 6537477"/>
              <a:gd name="connsiteY6" fmla="*/ 652149 h 724610"/>
              <a:gd name="connsiteX7" fmla="*/ 6516254 w 6537477"/>
              <a:gd name="connsiteY7" fmla="*/ 703387 h 724610"/>
              <a:gd name="connsiteX8" fmla="*/ 6465016 w 6537477"/>
              <a:gd name="connsiteY8" fmla="*/ 724610 h 724610"/>
              <a:gd name="connsiteX9" fmla="*/ 72461 w 6537477"/>
              <a:gd name="connsiteY9" fmla="*/ 724610 h 724610"/>
              <a:gd name="connsiteX10" fmla="*/ 21223 w 6537477"/>
              <a:gd name="connsiteY10" fmla="*/ 703387 h 724610"/>
              <a:gd name="connsiteX11" fmla="*/ 0 w 6537477"/>
              <a:gd name="connsiteY11" fmla="*/ 652149 h 724610"/>
              <a:gd name="connsiteX12" fmla="*/ 0 w 6537477"/>
              <a:gd name="connsiteY12" fmla="*/ 72461 h 724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37477" h="724610">
                <a:moveTo>
                  <a:pt x="0" y="72461"/>
                </a:moveTo>
                <a:cubicBezTo>
                  <a:pt x="0" y="53243"/>
                  <a:pt x="7634" y="34812"/>
                  <a:pt x="21223" y="21223"/>
                </a:cubicBezTo>
                <a:cubicBezTo>
                  <a:pt x="34812" y="7634"/>
                  <a:pt x="53243" y="0"/>
                  <a:pt x="72461" y="0"/>
                </a:cubicBezTo>
                <a:lnTo>
                  <a:pt x="6465016" y="0"/>
                </a:lnTo>
                <a:cubicBezTo>
                  <a:pt x="6484234" y="0"/>
                  <a:pt x="6502665" y="7634"/>
                  <a:pt x="6516254" y="21223"/>
                </a:cubicBezTo>
                <a:cubicBezTo>
                  <a:pt x="6529843" y="34812"/>
                  <a:pt x="6537477" y="53243"/>
                  <a:pt x="6537477" y="72461"/>
                </a:cubicBezTo>
                <a:lnTo>
                  <a:pt x="6537477" y="652149"/>
                </a:lnTo>
                <a:cubicBezTo>
                  <a:pt x="6537477" y="671367"/>
                  <a:pt x="6529843" y="689798"/>
                  <a:pt x="6516254" y="703387"/>
                </a:cubicBezTo>
                <a:cubicBezTo>
                  <a:pt x="6502665" y="716976"/>
                  <a:pt x="6484234" y="724610"/>
                  <a:pt x="6465016" y="724610"/>
                </a:cubicBezTo>
                <a:lnTo>
                  <a:pt x="72461" y="724610"/>
                </a:lnTo>
                <a:cubicBezTo>
                  <a:pt x="53243" y="724610"/>
                  <a:pt x="34812" y="716976"/>
                  <a:pt x="21223" y="703387"/>
                </a:cubicBezTo>
                <a:cubicBezTo>
                  <a:pt x="7634" y="689798"/>
                  <a:pt x="0" y="671367"/>
                  <a:pt x="0" y="652149"/>
                </a:cubicBezTo>
                <a:lnTo>
                  <a:pt x="0" y="72461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Target group/s</a:t>
            </a: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List groups, for whom the  expected project messages are relevan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6" name="Freeform 15"/>
          <p:cNvSpPr/>
          <p:nvPr/>
        </p:nvSpPr>
        <p:spPr>
          <a:xfrm>
            <a:off x="8654902" y="2416110"/>
            <a:ext cx="2298675" cy="3601917"/>
          </a:xfrm>
          <a:custGeom>
            <a:avLst/>
            <a:gdLst>
              <a:gd name="connsiteX0" fmla="*/ 0 w 2740042"/>
              <a:gd name="connsiteY0" fmla="*/ 108170 h 1081701"/>
              <a:gd name="connsiteX1" fmla="*/ 31682 w 2740042"/>
              <a:gd name="connsiteY1" fmla="*/ 31682 h 1081701"/>
              <a:gd name="connsiteX2" fmla="*/ 108170 w 2740042"/>
              <a:gd name="connsiteY2" fmla="*/ 0 h 1081701"/>
              <a:gd name="connsiteX3" fmla="*/ 2631872 w 2740042"/>
              <a:gd name="connsiteY3" fmla="*/ 0 h 1081701"/>
              <a:gd name="connsiteX4" fmla="*/ 2708360 w 2740042"/>
              <a:gd name="connsiteY4" fmla="*/ 31682 h 1081701"/>
              <a:gd name="connsiteX5" fmla="*/ 2740042 w 2740042"/>
              <a:gd name="connsiteY5" fmla="*/ 108170 h 1081701"/>
              <a:gd name="connsiteX6" fmla="*/ 2740042 w 2740042"/>
              <a:gd name="connsiteY6" fmla="*/ 973531 h 1081701"/>
              <a:gd name="connsiteX7" fmla="*/ 2708360 w 2740042"/>
              <a:gd name="connsiteY7" fmla="*/ 1050019 h 1081701"/>
              <a:gd name="connsiteX8" fmla="*/ 2631872 w 2740042"/>
              <a:gd name="connsiteY8" fmla="*/ 1081701 h 1081701"/>
              <a:gd name="connsiteX9" fmla="*/ 108170 w 2740042"/>
              <a:gd name="connsiteY9" fmla="*/ 1081701 h 1081701"/>
              <a:gd name="connsiteX10" fmla="*/ 31682 w 2740042"/>
              <a:gd name="connsiteY10" fmla="*/ 1050019 h 1081701"/>
              <a:gd name="connsiteX11" fmla="*/ 0 w 2740042"/>
              <a:gd name="connsiteY11" fmla="*/ 973531 h 1081701"/>
              <a:gd name="connsiteX12" fmla="*/ 0 w 2740042"/>
              <a:gd name="connsiteY12" fmla="*/ 108170 h 1081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740042" h="1081701">
                <a:moveTo>
                  <a:pt x="0" y="108170"/>
                </a:moveTo>
                <a:cubicBezTo>
                  <a:pt x="0" y="79482"/>
                  <a:pt x="11397" y="51968"/>
                  <a:pt x="31682" y="31682"/>
                </a:cubicBezTo>
                <a:cubicBezTo>
                  <a:pt x="51968" y="11396"/>
                  <a:pt x="79481" y="0"/>
                  <a:pt x="108170" y="0"/>
                </a:cubicBezTo>
                <a:lnTo>
                  <a:pt x="2631872" y="0"/>
                </a:lnTo>
                <a:cubicBezTo>
                  <a:pt x="2660560" y="0"/>
                  <a:pt x="2688074" y="11397"/>
                  <a:pt x="2708360" y="31682"/>
                </a:cubicBezTo>
                <a:cubicBezTo>
                  <a:pt x="2728646" y="51968"/>
                  <a:pt x="2740042" y="79481"/>
                  <a:pt x="2740042" y="108170"/>
                </a:cubicBezTo>
                <a:lnTo>
                  <a:pt x="2740042" y="973531"/>
                </a:lnTo>
                <a:cubicBezTo>
                  <a:pt x="2740042" y="1002219"/>
                  <a:pt x="2728646" y="1029733"/>
                  <a:pt x="2708360" y="1050019"/>
                </a:cubicBezTo>
                <a:cubicBezTo>
                  <a:pt x="2688074" y="1070305"/>
                  <a:pt x="2660561" y="1081701"/>
                  <a:pt x="2631872" y="1081701"/>
                </a:cubicBezTo>
                <a:lnTo>
                  <a:pt x="108170" y="1081701"/>
                </a:lnTo>
                <a:cubicBezTo>
                  <a:pt x="79482" y="1081701"/>
                  <a:pt x="51968" y="1070305"/>
                  <a:pt x="31682" y="1050019"/>
                </a:cubicBezTo>
                <a:cubicBezTo>
                  <a:pt x="11396" y="1029733"/>
                  <a:pt x="0" y="1002220"/>
                  <a:pt x="0" y="973531"/>
                </a:cubicBezTo>
                <a:lnTo>
                  <a:pt x="0" y="10817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5022" tIns="85022" rIns="85022" bIns="85022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Geographical scope</a:t>
            </a:r>
          </a:p>
          <a:p>
            <a:pPr marL="285750" marR="0" lvl="0" indent="-2857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List target regions/countries</a:t>
            </a: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98D5CE-BBF1-4871-9FA2-E8ECE2DD6F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0131" y="514769"/>
            <a:ext cx="10970103" cy="450325"/>
          </a:xfrm>
        </p:spPr>
        <p:txBody>
          <a:bodyPr/>
          <a:lstStyle/>
          <a:p>
            <a:r>
              <a:rPr lang="en-US" dirty="0">
                <a:latin typeface="ARLA STRONG" panose="00000500000000000000" pitchFamily="2" charset="0"/>
              </a:rPr>
              <a:t>Project messages and target groups</a:t>
            </a:r>
          </a:p>
        </p:txBody>
      </p:sp>
      <p:sp>
        <p:nvSpPr>
          <p:cNvPr id="18" name="Slide Number Placeholder 1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cs typeface="Arial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C2335A-005F-4FB0-A35A-A30816DACC3E}" type="slidenum">
              <a:rPr kumimoji="0" lang="en-US" sz="900" b="0" i="0" u="none" strike="noStrike" kern="1200" cap="none" spc="50" normalizeH="0" baseline="0" noProof="0">
                <a:ln>
                  <a:noFill/>
                </a:ln>
                <a:solidFill>
                  <a:srgbClr val="00528E"/>
                </a:solidFill>
                <a:effectLst/>
                <a:uLnTx/>
                <a:uFillTx/>
                <a:latin typeface="Arla InterFace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50" normalizeH="0" baseline="0" noProof="0">
              <a:ln>
                <a:noFill/>
              </a:ln>
              <a:solidFill>
                <a:srgbClr val="00528E"/>
              </a:solidFill>
              <a:effectLst/>
              <a:uLnTx/>
              <a:uFillTx/>
              <a:latin typeface="Arla InterFace"/>
              <a:ea typeface="+mn-ea"/>
              <a:cs typeface="Arial" charset="0"/>
            </a:endParaRP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6261155-D9BD-432E-9310-8528EDC887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2000" i="1" dirty="0">
                <a:solidFill>
                  <a:schemeClr val="accent4"/>
                </a:solidFill>
              </a:rPr>
              <a:t>To be filled in as part of project application</a:t>
            </a:r>
          </a:p>
        </p:txBody>
      </p:sp>
      <p:sp>
        <p:nvSpPr>
          <p:cNvPr id="19" name="Freeform 18"/>
          <p:cNvSpPr/>
          <p:nvPr/>
        </p:nvSpPr>
        <p:spPr>
          <a:xfrm>
            <a:off x="955636" y="2413530"/>
            <a:ext cx="3779397" cy="3604498"/>
          </a:xfrm>
          <a:custGeom>
            <a:avLst/>
            <a:gdLst>
              <a:gd name="connsiteX0" fmla="*/ 0 w 6563077"/>
              <a:gd name="connsiteY0" fmla="*/ 108170 h 1081701"/>
              <a:gd name="connsiteX1" fmla="*/ 31682 w 6563077"/>
              <a:gd name="connsiteY1" fmla="*/ 31682 h 1081701"/>
              <a:gd name="connsiteX2" fmla="*/ 108170 w 6563077"/>
              <a:gd name="connsiteY2" fmla="*/ 0 h 1081701"/>
              <a:gd name="connsiteX3" fmla="*/ 6454907 w 6563077"/>
              <a:gd name="connsiteY3" fmla="*/ 0 h 1081701"/>
              <a:gd name="connsiteX4" fmla="*/ 6531395 w 6563077"/>
              <a:gd name="connsiteY4" fmla="*/ 31682 h 1081701"/>
              <a:gd name="connsiteX5" fmla="*/ 6563077 w 6563077"/>
              <a:gd name="connsiteY5" fmla="*/ 108170 h 1081701"/>
              <a:gd name="connsiteX6" fmla="*/ 6563077 w 6563077"/>
              <a:gd name="connsiteY6" fmla="*/ 973531 h 1081701"/>
              <a:gd name="connsiteX7" fmla="*/ 6531395 w 6563077"/>
              <a:gd name="connsiteY7" fmla="*/ 1050019 h 1081701"/>
              <a:gd name="connsiteX8" fmla="*/ 6454907 w 6563077"/>
              <a:gd name="connsiteY8" fmla="*/ 1081701 h 1081701"/>
              <a:gd name="connsiteX9" fmla="*/ 108170 w 6563077"/>
              <a:gd name="connsiteY9" fmla="*/ 1081701 h 1081701"/>
              <a:gd name="connsiteX10" fmla="*/ 31682 w 6563077"/>
              <a:gd name="connsiteY10" fmla="*/ 1050019 h 1081701"/>
              <a:gd name="connsiteX11" fmla="*/ 0 w 6563077"/>
              <a:gd name="connsiteY11" fmla="*/ 973531 h 1081701"/>
              <a:gd name="connsiteX12" fmla="*/ 0 w 6563077"/>
              <a:gd name="connsiteY12" fmla="*/ 108170 h 10817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563077" h="1081701">
                <a:moveTo>
                  <a:pt x="0" y="108170"/>
                </a:moveTo>
                <a:cubicBezTo>
                  <a:pt x="0" y="79482"/>
                  <a:pt x="11397" y="51968"/>
                  <a:pt x="31682" y="31682"/>
                </a:cubicBezTo>
                <a:cubicBezTo>
                  <a:pt x="51968" y="11396"/>
                  <a:pt x="79481" y="0"/>
                  <a:pt x="108170" y="0"/>
                </a:cubicBezTo>
                <a:lnTo>
                  <a:pt x="6454907" y="0"/>
                </a:lnTo>
                <a:cubicBezTo>
                  <a:pt x="6483595" y="0"/>
                  <a:pt x="6511109" y="11397"/>
                  <a:pt x="6531395" y="31682"/>
                </a:cubicBezTo>
                <a:cubicBezTo>
                  <a:pt x="6551681" y="51968"/>
                  <a:pt x="6563077" y="79481"/>
                  <a:pt x="6563077" y="108170"/>
                </a:cubicBezTo>
                <a:lnTo>
                  <a:pt x="6563077" y="973531"/>
                </a:lnTo>
                <a:cubicBezTo>
                  <a:pt x="6563077" y="1002219"/>
                  <a:pt x="6551681" y="1029733"/>
                  <a:pt x="6531395" y="1050019"/>
                </a:cubicBezTo>
                <a:cubicBezTo>
                  <a:pt x="6511109" y="1070305"/>
                  <a:pt x="6483596" y="1081701"/>
                  <a:pt x="6454907" y="1081701"/>
                </a:cubicBezTo>
                <a:lnTo>
                  <a:pt x="108170" y="1081701"/>
                </a:lnTo>
                <a:cubicBezTo>
                  <a:pt x="79482" y="1081701"/>
                  <a:pt x="51968" y="1070305"/>
                  <a:pt x="31682" y="1050019"/>
                </a:cubicBezTo>
                <a:cubicBezTo>
                  <a:pt x="11396" y="1029733"/>
                  <a:pt x="0" y="1002220"/>
                  <a:pt x="0" y="973531"/>
                </a:cubicBezTo>
                <a:lnTo>
                  <a:pt x="0" y="108170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</a:ln>
          <a:effectLst/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1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5" tIns="87755" rIns="87755" bIns="87755" numCol="1" spcCol="1270" anchor="t" anchorCtr="0">
            <a:noAutofit/>
          </a:bodyPr>
          <a:lstStyle/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Project messages</a:t>
            </a: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Based on the communication objectives, please list expected messages from the project</a:t>
            </a: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a-DK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171450" marR="0" lvl="0" indent="-17145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  <a:p>
            <a:pPr marL="0" marR="0" lvl="0" indent="0" algn="l" defTabSz="6223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"/>
              <a:ea typeface="+mn-ea"/>
              <a:cs typeface="+mn-cs"/>
            </a:endParaRPr>
          </a:p>
        </p:txBody>
      </p:sp>
      <p:sp>
        <p:nvSpPr>
          <p:cNvPr id="10" name="Tekstfelt 9"/>
          <p:cNvSpPr txBox="1"/>
          <p:nvPr/>
        </p:nvSpPr>
        <p:spPr>
          <a:xfrm rot="667780">
            <a:off x="9127465" y="315707"/>
            <a:ext cx="3016007" cy="40011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Communication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la InterFace"/>
                <a:ea typeface="+mn-ea"/>
                <a:cs typeface="+mn-cs"/>
              </a:rPr>
              <a:t> template</a:t>
            </a:r>
          </a:p>
        </p:txBody>
      </p:sp>
    </p:spTree>
    <p:extLst>
      <p:ext uri="{BB962C8B-B14F-4D97-AF65-F5344CB8AC3E}">
        <p14:creationId xmlns:p14="http://schemas.microsoft.com/office/powerpoint/2010/main" val="242293069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rla presentation design beta016 - coded version_ArlaInterface">
  <a:themeElements>
    <a:clrScheme name="ARLA Colorscheme 2014">
      <a:dk1>
        <a:srgbClr val="363E42"/>
      </a:dk1>
      <a:lt1>
        <a:sysClr val="window" lastClr="FFFFFF"/>
      </a:lt1>
      <a:dk2>
        <a:srgbClr val="006C3A"/>
      </a:dk2>
      <a:lt2>
        <a:srgbClr val="D1D2CE"/>
      </a:lt2>
      <a:accent1>
        <a:srgbClr val="4BB131"/>
      </a:accent1>
      <a:accent2>
        <a:srgbClr val="006C3A"/>
      </a:accent2>
      <a:accent3>
        <a:srgbClr val="FFCC32"/>
      </a:accent3>
      <a:accent4>
        <a:srgbClr val="3CC4EB"/>
      </a:accent4>
      <a:accent5>
        <a:srgbClr val="F8353C"/>
      </a:accent5>
      <a:accent6>
        <a:srgbClr val="7D5DA8"/>
      </a:accent6>
      <a:hlink>
        <a:srgbClr val="0B43AA"/>
      </a:hlink>
      <a:folHlink>
        <a:srgbClr val="4BB131"/>
      </a:folHlink>
    </a:clrScheme>
    <a:fontScheme name="Arla InterFace 2014">
      <a:majorFont>
        <a:latin typeface="Arla InterFace"/>
        <a:ea typeface=""/>
        <a:cs typeface=""/>
      </a:majorFont>
      <a:minorFont>
        <a:latin typeface="Arla InterFa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sz="2000" dirty="0" err="1" smtClean="0"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2000" dirty="0" err="1" smtClean="0">
            <a:latin typeface="+mj-lt"/>
          </a:defRPr>
        </a:defPPr>
      </a:lstStyle>
    </a:txDef>
  </a:objectDefaults>
  <a:extraClrSchemeLst/>
  <a:custClrLst>
    <a:custClr name="Arla Forrest Green">
      <a:srgbClr val="006C3A"/>
    </a:custClr>
    <a:custClr name="Arla Sun Yellow">
      <a:srgbClr val="FFCC32"/>
    </a:custClr>
    <a:custClr name="Arla Grass Green">
      <a:srgbClr val="4BB131"/>
    </a:custClr>
    <a:custClr name="Arla Twilight Blue">
      <a:srgbClr val="0B43AA"/>
    </a:custClr>
    <a:custClr name="Arla Blue Sky">
      <a:srgbClr val="3CC4EB"/>
    </a:custClr>
    <a:custClr name="Arla Royal Purple">
      <a:srgbClr val="7D5DA8"/>
    </a:custClr>
    <a:custClr name="Arla Poppy Red">
      <a:srgbClr val="F8353C"/>
    </a:custClr>
    <a:custClr name="Arla Dawn Orange">
      <a:srgbClr val="FF7E05"/>
    </a:custClr>
    <a:custClr name="Arla Tulip Yellow">
      <a:srgbClr val="FFE90A"/>
    </a:custClr>
    <a:custClr name="Arla Leaf Green">
      <a:srgbClr val="D7E100"/>
    </a:custClr>
    <a:custClr name="Arla Granite Gray">
      <a:srgbClr val="363E42"/>
    </a:custClr>
    <a:custClr name="Arla Slate Gray">
      <a:srgbClr val="7C8180"/>
    </a:custClr>
    <a:custClr name="Arla Slate Gray Light">
      <a:srgbClr val="F4F4F1"/>
    </a:custClr>
    <a:custClr name="Arla Stone Gray">
      <a:srgbClr val="D1D2CE"/>
    </a:custClr>
  </a:custClrLst>
  <a:extLst>
    <a:ext uri="{05A4C25C-085E-4340-85A3-A5531E510DB2}">
      <thm15:themeFamily xmlns:thm15="http://schemas.microsoft.com/office/thememl/2012/main" name="Presentation4" id="{9024B13A-142B-4738-A807-55A0E6737F6E}" vid="{40BCBB9E-6F8C-43F1-BB97-F7A528D08C56}"/>
    </a:ext>
  </a:extLst>
</a:theme>
</file>

<file path=ppt/theme/theme2.xml><?xml version="1.0" encoding="utf-8"?>
<a:theme xmlns:a="http://schemas.openxmlformats.org/drawingml/2006/main" name="Office Theme">
  <a:themeElements>
    <a:clrScheme name="ARLA Colorscheme 2014">
      <a:dk1>
        <a:srgbClr val="363E42"/>
      </a:dk1>
      <a:lt1>
        <a:sysClr val="window" lastClr="FFFFFF"/>
      </a:lt1>
      <a:dk2>
        <a:srgbClr val="006C3A"/>
      </a:dk2>
      <a:lt2>
        <a:srgbClr val="D1D2CE"/>
      </a:lt2>
      <a:accent1>
        <a:srgbClr val="4BB131"/>
      </a:accent1>
      <a:accent2>
        <a:srgbClr val="006C3A"/>
      </a:accent2>
      <a:accent3>
        <a:srgbClr val="FFCC32"/>
      </a:accent3>
      <a:accent4>
        <a:srgbClr val="3CC4EB"/>
      </a:accent4>
      <a:accent5>
        <a:srgbClr val="F8353C"/>
      </a:accent5>
      <a:accent6>
        <a:srgbClr val="7D5DA8"/>
      </a:accent6>
      <a:hlink>
        <a:srgbClr val="0B43AA"/>
      </a:hlink>
      <a:folHlink>
        <a:srgbClr val="4BB131"/>
      </a:folHlink>
    </a:clrScheme>
    <a:fontScheme name="Arla InterFace 2014">
      <a:majorFont>
        <a:latin typeface="Arla InterFace"/>
        <a:ea typeface=""/>
        <a:cs typeface=""/>
      </a:majorFont>
      <a:minorFont>
        <a:latin typeface="Arla InterFa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ARLA Colorscheme 2014">
      <a:dk1>
        <a:srgbClr val="363E42"/>
      </a:dk1>
      <a:lt1>
        <a:sysClr val="window" lastClr="FFFFFF"/>
      </a:lt1>
      <a:dk2>
        <a:srgbClr val="006C3A"/>
      </a:dk2>
      <a:lt2>
        <a:srgbClr val="D1D2CE"/>
      </a:lt2>
      <a:accent1>
        <a:srgbClr val="4BB131"/>
      </a:accent1>
      <a:accent2>
        <a:srgbClr val="006C3A"/>
      </a:accent2>
      <a:accent3>
        <a:srgbClr val="FFCC32"/>
      </a:accent3>
      <a:accent4>
        <a:srgbClr val="3CC4EB"/>
      </a:accent4>
      <a:accent5>
        <a:srgbClr val="F8353C"/>
      </a:accent5>
      <a:accent6>
        <a:srgbClr val="7D5DA8"/>
      </a:accent6>
      <a:hlink>
        <a:srgbClr val="0B43AA"/>
      </a:hlink>
      <a:folHlink>
        <a:srgbClr val="4BB131"/>
      </a:folHlink>
    </a:clrScheme>
    <a:fontScheme name="Arla InterFace 2014">
      <a:majorFont>
        <a:latin typeface="Arla InterFace"/>
        <a:ea typeface=""/>
        <a:cs typeface=""/>
      </a:majorFont>
      <a:minorFont>
        <a:latin typeface="Arla InterFa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B99745B287CB04A94001505C20FFCD3" ma:contentTypeVersion="11" ma:contentTypeDescription="Opret et nyt dokument." ma:contentTypeScope="" ma:versionID="4072080943a0d78bd0d644691faf9c54">
  <xsd:schema xmlns:xsd="http://www.w3.org/2001/XMLSchema" xmlns:xs="http://www.w3.org/2001/XMLSchema" xmlns:p="http://schemas.microsoft.com/office/2006/metadata/properties" xmlns:ns2="f3dc2006-76d9-4355-931f-42c482c978ee" xmlns:ns3="8d1f498f-ac44-4e3e-89dc-20647b5bfb62" targetNamespace="http://schemas.microsoft.com/office/2006/metadata/properties" ma:root="true" ma:fieldsID="2de9f004ef199c39547947ea3bdef79f" ns2:_="" ns3:_="">
    <xsd:import namespace="f3dc2006-76d9-4355-931f-42c482c978ee"/>
    <xsd:import namespace="8d1f498f-ac44-4e3e-89dc-20647b5bfb6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dc2006-76d9-4355-931f-42c482c978e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1f498f-ac44-4e3e-89dc-20647b5bfb6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32A03B3-D380-440B-BFB6-6333E5430D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dc2006-76d9-4355-931f-42c482c978ee"/>
    <ds:schemaRef ds:uri="8d1f498f-ac44-4e3e-89dc-20647b5bfb6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A3E379A-0DCD-483B-BDF7-A8A59DA4BC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7F2E77B-5232-4889-BE43-BC396F274E54}">
  <ds:schemaRefs>
    <ds:schemaRef ds:uri="http://purl.org/dc/terms/"/>
    <ds:schemaRef ds:uri="http://schemas.microsoft.com/office/2006/documentManagement/types"/>
    <ds:schemaRef ds:uri="8d1f498f-ac44-4e3e-89dc-20647b5bfb62"/>
    <ds:schemaRef ds:uri="http://purl.org/dc/elements/1.1/"/>
    <ds:schemaRef ds:uri="http://schemas.openxmlformats.org/package/2006/metadata/core-properties"/>
    <ds:schemaRef ds:uri="http://www.w3.org/XML/1998/namespace"/>
    <ds:schemaRef ds:uri="f3dc2006-76d9-4355-931f-42c482c978ee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3</Words>
  <Application>Microsoft Office PowerPoint</Application>
  <PresentationFormat>Widescreen</PresentationFormat>
  <Paragraphs>50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Arla InterFace</vt:lpstr>
      <vt:lpstr>ARLA STRONG</vt:lpstr>
      <vt:lpstr>Arla presentation design beta016 - coded version_ArlaInterface</vt:lpstr>
      <vt:lpstr>think-cell Slide</vt:lpstr>
      <vt:lpstr>Communication templates</vt:lpstr>
      <vt:lpstr>Project scope</vt:lpstr>
      <vt:lpstr>Project messages and target group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rla Food for Health_restore</dc:title>
  <dc:creator>Britt Christensen</dc:creator>
  <cp:keywords/>
  <cp:lastModifiedBy>Andreas Buch Moeller</cp:lastModifiedBy>
  <cp:revision>7</cp:revision>
  <cp:lastPrinted>2018-04-25T13:12:09Z</cp:lastPrinted>
  <dcterms:created xsi:type="dcterms:W3CDTF">2017-08-29T07:04:48Z</dcterms:created>
  <dcterms:modified xsi:type="dcterms:W3CDTF">2023-02-22T11:3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99745B287CB04A94001505C20FFCD3</vt:lpwstr>
  </property>
  <property fmtid="{D5CDD505-2E9C-101B-9397-08002B2CF9AE}" pid="3" name="TaxKeyword">
    <vt:lpwstr/>
  </property>
  <property fmtid="{D5CDD505-2E9C-101B-9397-08002B2CF9AE}" pid="4" name="SpbOrganisation">
    <vt:lpwstr/>
  </property>
</Properties>
</file>